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19" r:id="rId5"/>
  </p:sldMasterIdLst>
  <p:notesMasterIdLst>
    <p:notesMasterId r:id="rId11"/>
  </p:notesMasterIdLst>
  <p:handoutMasterIdLst>
    <p:handoutMasterId r:id="rId12"/>
  </p:handoutMasterIdLst>
  <p:sldIdLst>
    <p:sldId id="757" r:id="rId6"/>
    <p:sldId id="782" r:id="rId7"/>
    <p:sldId id="781" r:id="rId8"/>
    <p:sldId id="783" r:id="rId9"/>
    <p:sldId id="758" r:id="rId10"/>
  </p:sldIdLst>
  <p:sldSz cx="10333038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1117" userDrawn="1">
          <p15:clr>
            <a:srgbClr val="A4A3A4"/>
          </p15:clr>
        </p15:guide>
        <p15:guide id="6" pos="302">
          <p15:clr>
            <a:srgbClr val="A4A3A4"/>
          </p15:clr>
        </p15:guide>
        <p15:guide id="7" pos="7378">
          <p15:clr>
            <a:srgbClr val="A4A3A4"/>
          </p15:clr>
        </p15:guide>
        <p15:guide id="8" pos="256">
          <p15:clr>
            <a:srgbClr val="A4A3A4"/>
          </p15:clr>
        </p15:guide>
        <p15:guide id="9" pos="62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E266"/>
    <a:srgbClr val="CCCCFF"/>
    <a:srgbClr val="018795"/>
    <a:srgbClr val="D0D8E8"/>
    <a:srgbClr val="C3EFF5"/>
    <a:srgbClr val="BF4D00"/>
    <a:srgbClr val="D8F4F8"/>
    <a:srgbClr val="FFD85B"/>
    <a:srgbClr val="50EDFE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21" autoAdjust="0"/>
    <p:restoredTop sz="99879" autoAdjust="0"/>
  </p:normalViewPr>
  <p:slideViewPr>
    <p:cSldViewPr showGuides="1">
      <p:cViewPr varScale="1">
        <p:scale>
          <a:sx n="115" d="100"/>
          <a:sy n="115" d="100"/>
        </p:scale>
        <p:origin x="1236" y="108"/>
      </p:cViewPr>
      <p:guideLst>
        <p:guide orient="horz" pos="1117"/>
        <p:guide pos="302"/>
        <p:guide pos="7378"/>
        <p:guide pos="256"/>
        <p:guide pos="6253"/>
      </p:guideLst>
    </p:cSldViewPr>
  </p:slideViewPr>
  <p:outlineViewPr>
    <p:cViewPr>
      <p:scale>
        <a:sx n="33" d="100"/>
        <a:sy n="33" d="100"/>
      </p:scale>
      <p:origin x="0" y="1338"/>
    </p:cViewPr>
  </p:outlineViewPr>
  <p:notesTextViewPr>
    <p:cViewPr>
      <p:scale>
        <a:sx n="300" d="100"/>
        <a:sy n="300" d="100"/>
      </p:scale>
      <p:origin x="0" y="0"/>
    </p:cViewPr>
  </p:notesTextViewPr>
  <p:notesViewPr>
    <p:cSldViewPr showGuides="1">
      <p:cViewPr varScale="1">
        <p:scale>
          <a:sx n="50" d="100"/>
          <a:sy n="50" d="100"/>
        </p:scale>
        <p:origin x="2886" y="3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EE6615-46F6-4262-912C-C2B8166A6E77}" type="datetimeFigureOut">
              <a:rPr lang="en-US" smtClean="0"/>
              <a:pPr/>
              <a:t>12/14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68D6CE-7457-4A9E-A379-5BB22440748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71084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eorgia" panose="02040502050405020303" pitchFamily="18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eorgia" panose="02040502050405020303" pitchFamily="18" charset="0"/>
              </a:defRPr>
            </a:lvl1pPr>
          </a:lstStyle>
          <a:p>
            <a:fld id="{AB90ABD8-46AE-4C31-B2F0-37AD29295257}" type="datetimeFigureOut">
              <a:rPr lang="en-GB" smtClean="0"/>
              <a:pPr/>
              <a:t>14/12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3313" y="1143000"/>
            <a:ext cx="46513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eorgia" panose="02040502050405020303" pitchFamily="18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eorgia" panose="02040502050405020303" pitchFamily="18" charset="0"/>
              </a:defRPr>
            </a:lvl1pPr>
          </a:lstStyle>
          <a:p>
            <a:fld id="{AA0CC176-B767-462C-A4A3-3F52D5B2F23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80441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9.emf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oleObject" Target="../embeddings/oleObject3.bin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image" Target="../media/image11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tags" Target="../tags/tag48.xml"/><Relationship Id="rId11" Type="http://schemas.openxmlformats.org/officeDocument/2006/relationships/image" Target="../media/image10.emf"/><Relationship Id="rId5" Type="http://schemas.openxmlformats.org/officeDocument/2006/relationships/tags" Target="../tags/tag47.xml"/><Relationship Id="rId10" Type="http://schemas.openxmlformats.org/officeDocument/2006/relationships/oleObject" Target="../embeddings/oleObject2.bin"/><Relationship Id="rId4" Type="http://schemas.openxmlformats.org/officeDocument/2006/relationships/tags" Target="../tags/tag46.xml"/><Relationship Id="rId9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Yellow" preserve="1" userDrawn="1">
  <p:cSld name="Title Yello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9842" y="1084888"/>
            <a:ext cx="7296870" cy="2615592"/>
          </a:xfrm>
        </p:spPr>
        <p:txBody>
          <a:bodyPr anchor="b"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29843" y="3838563"/>
            <a:ext cx="7296871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325" y="517233"/>
            <a:ext cx="952038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851780" y="198164"/>
            <a:ext cx="2074932" cy="18000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95DFA42-FEF2-4B97-A44E-61C088B33886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629842" y="198164"/>
            <a:ext cx="5221938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Presenter Name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686" y="3457891"/>
            <a:ext cx="1296715" cy="15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9740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33694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3856" y="1772817"/>
            <a:ext cx="4576641" cy="43200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9604" y="1772816"/>
            <a:ext cx="4577108" cy="43200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7851779" y="260648"/>
            <a:ext cx="2074933" cy="180000"/>
          </a:xfrm>
          <a:prstGeom prst="rect">
            <a:avLst/>
          </a:prstGeom>
        </p:spPr>
        <p:txBody>
          <a:bodyPr/>
          <a:lstStyle/>
          <a:p>
            <a:fld id="{45B251F2-6433-4748-92F3-482A4CECA1DA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565A0-E14D-423A-A6FE-6383F19ABB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90883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 type="two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3856" y="1773240"/>
            <a:ext cx="2990072" cy="43195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37846" y="1773239"/>
            <a:ext cx="2990072" cy="43195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7851779" y="260648"/>
            <a:ext cx="2074933" cy="180000"/>
          </a:xfrm>
          <a:prstGeom prst="rect">
            <a:avLst/>
          </a:prstGeom>
        </p:spPr>
        <p:txBody>
          <a:bodyPr/>
          <a:lstStyle/>
          <a:p>
            <a:fld id="{EAB6A793-F731-478B-9C2C-6F25994626BE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8E1BE-1FF8-4841-A7B0-15806A99F7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3670851" y="1773239"/>
            <a:ext cx="2990072" cy="43195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43649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7851779" y="260648"/>
            <a:ext cx="2074933" cy="180000"/>
          </a:xfrm>
          <a:prstGeom prst="rect">
            <a:avLst/>
          </a:prstGeom>
        </p:spPr>
        <p:txBody>
          <a:bodyPr/>
          <a:lstStyle/>
          <a:p>
            <a:fld id="{E9F2D573-498D-4E3A-84C1-37E7CADB1A19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02C9E9-6B5D-4178-BF07-6F85F89F92B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78531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51779" y="260648"/>
            <a:ext cx="2074933" cy="180000"/>
          </a:xfrm>
          <a:prstGeom prst="rect">
            <a:avLst/>
          </a:prstGeom>
        </p:spPr>
        <p:txBody>
          <a:bodyPr/>
          <a:lstStyle/>
          <a:p>
            <a:fld id="{1102B3AA-E646-416F-95FF-1130EC0EEA5C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DE4AF-79FC-4ECD-A700-CC0C3E4FA42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48893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Turquoise" preserve="1" userDrawn="1">
  <p:cSld name="Quote Turquoi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51779" y="260648"/>
            <a:ext cx="2074933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A27A2FD-9187-41D5-9AC6-183AABE1846B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75F8B1-3DDC-40B1-AA5D-4754E2161518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06325" y="517233"/>
            <a:ext cx="952038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635733" y="1435620"/>
            <a:ext cx="6375592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 </a:t>
            </a:r>
            <a:br>
              <a:rPr lang="en-GB" dirty="0"/>
            </a:br>
            <a:r>
              <a:rPr lang="en-GB" dirty="0"/>
              <a:t>Edit Master text styles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746" y="6456501"/>
            <a:ext cx="1057027" cy="126198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1077599" y="1052736"/>
            <a:ext cx="774978" cy="914400"/>
          </a:xfrm>
          <a:prstGeom prst="rect">
            <a:avLst/>
          </a:prstGeom>
          <a:solidFill>
            <a:srgbClr val="33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8072018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Orange" preserve="1" userDrawn="1">
  <p:cSld name="Quot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51779" y="260648"/>
            <a:ext cx="2074933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4D8657-06FA-4F82-A443-0ED31E1D9698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1716DD-DA39-4947-BCCB-5EF1BABF237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02745" y="517233"/>
            <a:ext cx="952396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635733" y="1435620"/>
            <a:ext cx="6375592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 </a:t>
            </a:r>
            <a:br>
              <a:rPr lang="en-GB" dirty="0"/>
            </a:br>
            <a:r>
              <a:rPr lang="en-GB" dirty="0"/>
              <a:t>Edit Master text styles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746" y="6456501"/>
            <a:ext cx="1057027" cy="12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1964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Purple" preserve="1" userDrawn="1">
  <p:cSld name="Quote Purp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51779" y="260648"/>
            <a:ext cx="2074933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FD392C-8C28-423F-9CF9-168C5FDCF3D4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5C3F6D6-0B37-411B-93C0-8F19F6E598E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06326" y="517233"/>
            <a:ext cx="952038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635733" y="1435620"/>
            <a:ext cx="6375592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 </a:t>
            </a:r>
            <a:br>
              <a:rPr lang="en-GB" dirty="0"/>
            </a:br>
            <a:r>
              <a:rPr lang="en-GB" dirty="0"/>
              <a:t>Edit Master text styles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746" y="6456501"/>
            <a:ext cx="1057027" cy="12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9656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Yellow" preserve="1" userDrawn="1">
  <p:cSld name="Quote Yello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51779" y="260648"/>
            <a:ext cx="2074933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AD692DD-A5CB-4CBC-B62D-B02332574F71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5BFA8B-7DEE-4C66-8569-8DFE7ACF7973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02745" y="517233"/>
            <a:ext cx="952396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635733" y="1435620"/>
            <a:ext cx="6375592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 </a:t>
            </a:r>
            <a:br>
              <a:rPr lang="en-GB" dirty="0"/>
            </a:br>
            <a:r>
              <a:rPr lang="en-GB" dirty="0"/>
              <a:t>Edit Master text styles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746" y="6456501"/>
            <a:ext cx="1057027" cy="12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8768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Magenta" preserve="1" userDrawn="1">
  <p:cSld name="Quote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51779" y="260648"/>
            <a:ext cx="2074933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0BB828-61F0-4AD9-B83F-B51E2FD5D965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7430D3-03EA-482E-B164-C83053F5989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02745" y="517233"/>
            <a:ext cx="952396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635733" y="1435620"/>
            <a:ext cx="6375592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 </a:t>
            </a:r>
            <a:br>
              <a:rPr lang="en-GB" dirty="0"/>
            </a:br>
            <a:r>
              <a:rPr lang="en-GB" dirty="0"/>
              <a:t>Edit Master text styles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746" y="6456501"/>
            <a:ext cx="1057027" cy="12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996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Light Gray" preserve="1" userDrawn="1">
  <p:cSld name="Title Light Gray">
    <p:bg>
      <p:bgPr>
        <a:solidFill>
          <a:srgbClr val="AFAF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9842" y="1084888"/>
            <a:ext cx="7296870" cy="2615592"/>
          </a:xfrm>
        </p:spPr>
        <p:txBody>
          <a:bodyPr anchor="b"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29842" y="3838563"/>
            <a:ext cx="7296870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2686" y="517233"/>
            <a:ext cx="9524026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851780" y="198164"/>
            <a:ext cx="2074932" cy="18000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F1CBB15-4623-4BC3-98F4-7FBDC5C3EB7E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629842" y="198164"/>
            <a:ext cx="5221938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Presenter Name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686" y="3457891"/>
            <a:ext cx="1296715" cy="15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8761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Dark Blue" preserve="1" userDrawn="1">
  <p:cSld name="Quote Dark Blu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51779" y="260648"/>
            <a:ext cx="2074933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17364F9-B8D7-4760-9E36-ADB2A13415EE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2C044E-2C79-451C-BCB7-D87C0C3B94F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06326" y="517233"/>
            <a:ext cx="952038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635733" y="1435620"/>
            <a:ext cx="6375592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 </a:t>
            </a:r>
            <a:br>
              <a:rPr lang="en-GB" dirty="0"/>
            </a:br>
            <a:r>
              <a:rPr lang="en-GB" dirty="0"/>
              <a:t>Edit Master text styles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746" y="6456501"/>
            <a:ext cx="1057027" cy="12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3784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Red" preserve="1" userDrawn="1">
  <p:cSld name="Quote Red">
    <p:bg>
      <p:bgPr>
        <a:solidFill>
          <a:srgbClr val="F13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51779" y="260648"/>
            <a:ext cx="2074933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746B7F-10AF-47B2-AE12-0E664AA0F191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8F1B231-A2BF-4B9C-914B-A41072691B20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02746" y="517233"/>
            <a:ext cx="952396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635733" y="1435620"/>
            <a:ext cx="6375592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 </a:t>
            </a:r>
            <a:br>
              <a:rPr lang="en-GB" dirty="0"/>
            </a:br>
            <a:r>
              <a:rPr lang="en-GB" dirty="0"/>
              <a:t>Edit Master text styles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746" y="6456501"/>
            <a:ext cx="1057027" cy="12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7289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Light Grey" preserve="1" userDrawn="1">
  <p:cSld name="Quote Light Grey">
    <p:bg>
      <p:bgPr>
        <a:solidFill>
          <a:srgbClr val="AFAF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51779" y="260648"/>
            <a:ext cx="2074933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94F059C-5358-4382-9F64-9EFC1EE2C2AD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13BAC7-58AF-4FF5-A09D-6ADCFCE3E879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02745" y="517233"/>
            <a:ext cx="952396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514310" y="1435620"/>
            <a:ext cx="5076823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 </a:t>
            </a:r>
            <a:br>
              <a:rPr lang="en-GB" dirty="0"/>
            </a:br>
            <a:r>
              <a:rPr lang="en-GB" dirty="0"/>
              <a:t>Edit Master text styles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746" y="6456501"/>
            <a:ext cx="1057027" cy="12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0105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Green" preserve="1" userDrawn="1">
  <p:cSld name="Quote Green">
    <p:bg>
      <p:bgPr>
        <a:solidFill>
          <a:srgbClr val="7AC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51779" y="260648"/>
            <a:ext cx="2074933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2817FE-8B22-4431-B6F5-9F30154539AA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CA9D15-68A9-4A93-BFFD-14FAEF8E0358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02745" y="517233"/>
            <a:ext cx="952396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514310" y="1435620"/>
            <a:ext cx="5076823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 </a:t>
            </a:r>
            <a:br>
              <a:rPr lang="en-GB" dirty="0"/>
            </a:br>
            <a:r>
              <a:rPr lang="en-GB" dirty="0"/>
              <a:t>Edit Master text styles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746" y="6456501"/>
            <a:ext cx="1057027" cy="12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8344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Turquoise" type="blank" preserve="1">
  <p:cSld name="Closing Slide Turquoi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/>
          </p:cNvSpPr>
          <p:nvPr userDrawn="1"/>
        </p:nvSpPr>
        <p:spPr>
          <a:xfrm>
            <a:off x="396256" y="3269995"/>
            <a:ext cx="2685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spc="-50" baseline="0" dirty="0">
                <a:solidFill>
                  <a:schemeClr val="bg1"/>
                </a:solidFill>
              </a:rPr>
              <a:t>Chubb</a:t>
            </a:r>
            <a:r>
              <a:rPr lang="en-GB" sz="2800" spc="-50" baseline="0">
                <a:solidFill>
                  <a:schemeClr val="bg1"/>
                </a:solidFill>
              </a:rPr>
              <a:t>. Insured</a:t>
            </a:r>
            <a:r>
              <a:rPr lang="en-GB" sz="2800" spc="-50" baseline="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842570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Orange" type="blank" preserve="1">
  <p:cSld name="Closing Sl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/>
          </p:cNvSpPr>
          <p:nvPr userDrawn="1"/>
        </p:nvSpPr>
        <p:spPr>
          <a:xfrm>
            <a:off x="396256" y="3269995"/>
            <a:ext cx="2685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spc="-50" baseline="0" dirty="0">
                <a:solidFill>
                  <a:schemeClr val="bg1"/>
                </a:solidFill>
              </a:rPr>
              <a:t>Chubb</a:t>
            </a:r>
            <a:r>
              <a:rPr lang="en-GB" sz="2800" spc="-50" baseline="0">
                <a:solidFill>
                  <a:schemeClr val="bg1"/>
                </a:solidFill>
              </a:rPr>
              <a:t>. Insured</a:t>
            </a:r>
            <a:r>
              <a:rPr lang="en-GB" sz="2800" spc="-50" baseline="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885468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Purple" type="blank" preserve="1">
  <p:cSld name="Closing Slide Purp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/>
          </p:cNvSpPr>
          <p:nvPr userDrawn="1"/>
        </p:nvSpPr>
        <p:spPr>
          <a:xfrm>
            <a:off x="396256" y="3269995"/>
            <a:ext cx="2685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spc="-50" baseline="0" dirty="0">
                <a:solidFill>
                  <a:schemeClr val="bg1"/>
                </a:solidFill>
              </a:rPr>
              <a:t>Chubb</a:t>
            </a:r>
            <a:r>
              <a:rPr lang="en-GB" sz="2800" spc="-50" baseline="0">
                <a:solidFill>
                  <a:schemeClr val="bg1"/>
                </a:solidFill>
              </a:rPr>
              <a:t>. Insured</a:t>
            </a:r>
            <a:r>
              <a:rPr lang="en-GB" sz="2800" spc="-50" baseline="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716297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Yellow" type="blank" preserve="1">
  <p:cSld name="Closing Slide Yello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/>
          </p:cNvSpPr>
          <p:nvPr userDrawn="1"/>
        </p:nvSpPr>
        <p:spPr>
          <a:xfrm>
            <a:off x="396256" y="3269995"/>
            <a:ext cx="2685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spc="-50" baseline="0" dirty="0">
                <a:solidFill>
                  <a:schemeClr val="bg1"/>
                </a:solidFill>
              </a:rPr>
              <a:t>Chubb</a:t>
            </a:r>
            <a:r>
              <a:rPr lang="en-GB" sz="2800" spc="-50" baseline="0">
                <a:solidFill>
                  <a:schemeClr val="bg1"/>
                </a:solidFill>
              </a:rPr>
              <a:t>. Insured</a:t>
            </a:r>
            <a:r>
              <a:rPr lang="en-GB" sz="2800" spc="-50" baseline="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122376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Magenta" type="blank" preserve="1">
  <p:cSld name="Closing Slide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/>
          </p:cNvSpPr>
          <p:nvPr userDrawn="1"/>
        </p:nvSpPr>
        <p:spPr>
          <a:xfrm>
            <a:off x="396256" y="3269995"/>
            <a:ext cx="2685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spc="-50" baseline="0" dirty="0">
                <a:solidFill>
                  <a:schemeClr val="bg1"/>
                </a:solidFill>
              </a:rPr>
              <a:t>Chubb</a:t>
            </a:r>
            <a:r>
              <a:rPr lang="en-GB" sz="2800" spc="-50" baseline="0">
                <a:solidFill>
                  <a:schemeClr val="bg1"/>
                </a:solidFill>
              </a:rPr>
              <a:t>. Insured</a:t>
            </a:r>
            <a:r>
              <a:rPr lang="en-GB" sz="2800" spc="-50" baseline="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11004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Dark Blue" type="blank" preserve="1">
  <p:cSld name="Closing Slide Dark Blu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/>
          </p:cNvSpPr>
          <p:nvPr userDrawn="1"/>
        </p:nvSpPr>
        <p:spPr>
          <a:xfrm>
            <a:off x="396256" y="3269995"/>
            <a:ext cx="2685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spc="-50" baseline="0" dirty="0">
                <a:solidFill>
                  <a:schemeClr val="bg1"/>
                </a:solidFill>
              </a:rPr>
              <a:t>Chubb</a:t>
            </a:r>
            <a:r>
              <a:rPr lang="en-GB" sz="2800" spc="-50" baseline="0">
                <a:solidFill>
                  <a:schemeClr val="bg1"/>
                </a:solidFill>
              </a:rPr>
              <a:t>. Insured</a:t>
            </a:r>
            <a:r>
              <a:rPr lang="en-GB" sz="2800" spc="-50" baseline="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906871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Turquoise" preserve="1" userDrawn="1">
  <p:cSld name="Title Turquoi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9842" y="1084888"/>
            <a:ext cx="7296870" cy="2615592"/>
          </a:xfrm>
        </p:spPr>
        <p:txBody>
          <a:bodyPr anchor="b"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29842" y="3838563"/>
            <a:ext cx="7296870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2686" y="517233"/>
            <a:ext cx="952402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851780" y="198164"/>
            <a:ext cx="2074932" cy="18000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7E50640B-77AE-4DAF-A2C2-AA97F1AC5427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629842" y="198164"/>
            <a:ext cx="5221938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Presenter Name</a:t>
            </a:r>
          </a:p>
        </p:txBody>
      </p:sp>
      <p:pic>
        <p:nvPicPr>
          <p:cNvPr id="4" name="Picture 3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686" y="3457891"/>
            <a:ext cx="1296715" cy="15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7081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Red" type="blank" preserve="1">
  <p:cSld name="Closing Slide Red">
    <p:bg>
      <p:bgPr>
        <a:solidFill>
          <a:srgbClr val="F13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/>
          </p:cNvSpPr>
          <p:nvPr userDrawn="1"/>
        </p:nvSpPr>
        <p:spPr>
          <a:xfrm>
            <a:off x="396256" y="3269995"/>
            <a:ext cx="2685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spc="-50" baseline="0" dirty="0">
                <a:solidFill>
                  <a:schemeClr val="bg1"/>
                </a:solidFill>
              </a:rPr>
              <a:t>Chubb</a:t>
            </a:r>
            <a:r>
              <a:rPr lang="en-GB" sz="2800" spc="-50" baseline="0">
                <a:solidFill>
                  <a:schemeClr val="bg1"/>
                </a:solidFill>
              </a:rPr>
              <a:t>. Insured</a:t>
            </a:r>
            <a:r>
              <a:rPr lang="en-GB" sz="2800" spc="-50" baseline="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834573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Light Grey" type="blank" preserve="1">
  <p:cSld name="Closing Slide Light Grey">
    <p:bg>
      <p:bgPr>
        <a:solidFill>
          <a:srgbClr val="AFAF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/>
          </p:cNvSpPr>
          <p:nvPr userDrawn="1"/>
        </p:nvSpPr>
        <p:spPr>
          <a:xfrm>
            <a:off x="396256" y="3269995"/>
            <a:ext cx="2685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spc="-50" baseline="0" dirty="0">
                <a:solidFill>
                  <a:schemeClr val="bg1"/>
                </a:solidFill>
              </a:rPr>
              <a:t>Chubb</a:t>
            </a:r>
            <a:r>
              <a:rPr lang="en-GB" sz="2800" spc="-50" baseline="0">
                <a:solidFill>
                  <a:schemeClr val="bg1"/>
                </a:solidFill>
              </a:rPr>
              <a:t>. Insured</a:t>
            </a:r>
            <a:r>
              <a:rPr lang="en-GB" sz="2800" spc="-50" baseline="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695732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Green" type="blank" preserve="1">
  <p:cSld name="Closing Slide Green">
    <p:bg>
      <p:bgPr>
        <a:solidFill>
          <a:srgbClr val="7AC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/>
          </p:cNvSpPr>
          <p:nvPr userDrawn="1"/>
        </p:nvSpPr>
        <p:spPr>
          <a:xfrm>
            <a:off x="396256" y="3269995"/>
            <a:ext cx="2685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spc="-50" baseline="0" dirty="0">
                <a:solidFill>
                  <a:schemeClr val="bg1"/>
                </a:solidFill>
              </a:rPr>
              <a:t>Chubb</a:t>
            </a:r>
            <a:r>
              <a:rPr lang="en-GB" sz="2800" spc="-50" baseline="0">
                <a:solidFill>
                  <a:schemeClr val="bg1"/>
                </a:solidFill>
              </a:rPr>
              <a:t>. Insured</a:t>
            </a:r>
            <a:r>
              <a:rPr lang="en-GB" sz="2800" spc="-50" baseline="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610102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6704" y="875442"/>
            <a:ext cx="9815489" cy="0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77726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6704" y="875442"/>
            <a:ext cx="9815489" cy="0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77726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9642376" y="0"/>
            <a:ext cx="69066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033303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0664" y="1989139"/>
            <a:ext cx="8544489" cy="2879725"/>
          </a:xfrm>
        </p:spPr>
        <p:txBody>
          <a:bodyPr>
            <a:noAutofit/>
          </a:bodyPr>
          <a:lstStyle>
            <a:lvl1pPr algn="l">
              <a:defRPr sz="3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912331" y="6561140"/>
            <a:ext cx="1627095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9204383-0C54-4B78-8ADB-F6E6837BB0B5}" type="datetime3">
              <a:rPr lang="en-GB" smtClean="0">
                <a:solidFill>
                  <a:prstClr val="white"/>
                </a:solidFill>
              </a:rPr>
              <a:t>14 December,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71028" y="6561140"/>
            <a:ext cx="3864126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15881" y="6561140"/>
            <a:ext cx="814445" cy="1809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C76BA09-212A-4B25-A57B-9D2BE0B86414}" type="slidenum">
              <a:rPr lang="en-GB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9" name="Picture 9" descr="ace_2c_pos_xlarge_png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3441" y="6215063"/>
            <a:ext cx="611731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872291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6704" y="875442"/>
            <a:ext cx="9815489" cy="0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87019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6704" y="875442"/>
            <a:ext cx="9815489" cy="0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84873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6704" y="875442"/>
            <a:ext cx="9815489" cy="0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23907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6704" y="875442"/>
            <a:ext cx="9815489" cy="0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582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range" preserve="1" userDrawn="1">
  <p:cSld name="Titl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9842" y="1084888"/>
            <a:ext cx="7296870" cy="2615592"/>
          </a:xfrm>
        </p:spPr>
        <p:txBody>
          <a:bodyPr anchor="b"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29842" y="3838563"/>
            <a:ext cx="7296870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325" y="517233"/>
            <a:ext cx="952038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851780" y="198164"/>
            <a:ext cx="2074932" cy="18000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85A55F63-72A7-4C3C-BB7A-0DF3442B8F2C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629842" y="198164"/>
            <a:ext cx="5221938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Presenter Name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686" y="3457891"/>
            <a:ext cx="1296715" cy="15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1774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6704" y="875442"/>
            <a:ext cx="9815489" cy="0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50789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6704" y="875442"/>
            <a:ext cx="9815489" cy="0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04708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6704" y="875442"/>
            <a:ext cx="9815489" cy="0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00194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6704" y="875442"/>
            <a:ext cx="9815489" cy="0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73494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6704" y="875442"/>
            <a:ext cx="9815489" cy="0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77726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6704" y="875442"/>
            <a:ext cx="9815489" cy="0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77726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6704" y="875442"/>
            <a:ext cx="9815489" cy="0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77726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6704" y="875442"/>
            <a:ext cx="9815489" cy="0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77726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6704" y="875442"/>
            <a:ext cx="9815489" cy="0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77726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18F7-E61D-4CA1-B635-EA8EEED4040F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6704" y="875442"/>
            <a:ext cx="9815489" cy="0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777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Purple" preserve="1" userDrawn="1">
  <p:cSld name="Title Purp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9842" y="1084888"/>
            <a:ext cx="7296870" cy="2615592"/>
          </a:xfrm>
        </p:spPr>
        <p:txBody>
          <a:bodyPr anchor="b"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29843" y="3838563"/>
            <a:ext cx="7296869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2686" y="517233"/>
            <a:ext cx="952402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851779" y="198164"/>
            <a:ext cx="2074933" cy="18000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93966573-0FF1-454F-84B8-67E0AE6B6D51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629842" y="198164"/>
            <a:ext cx="5221938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Presenter Name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686" y="3457891"/>
            <a:ext cx="1296715" cy="15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0354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Turquoise" preserve="1">
  <p:cSld name="Title Turquoi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3455988"/>
            <a:ext cx="1729349" cy="15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6457" y="1084888"/>
            <a:ext cx="6309929" cy="2615592"/>
          </a:xfrm>
        </p:spPr>
        <p:txBody>
          <a:bodyPr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06458" y="3838563"/>
            <a:ext cx="6316972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507594" y="198164"/>
            <a:ext cx="4344186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3"/>
          </p:nvPr>
        </p:nvSpPr>
        <p:spPr>
          <a:xfrm>
            <a:off x="7852033" y="198439"/>
            <a:ext cx="1964353" cy="179387"/>
          </a:xfrm>
        </p:spPr>
        <p:txBody>
          <a:bodyPr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</p:spTree>
    <p:extLst>
      <p:ext uri="{BB962C8B-B14F-4D97-AF65-F5344CB8AC3E}">
        <p14:creationId xmlns:p14="http://schemas.microsoft.com/office/powerpoint/2010/main" val="38920391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range" preserve="1">
  <p:cSld name="Titl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3455988"/>
            <a:ext cx="1729349" cy="15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6457" y="1084888"/>
            <a:ext cx="6309929" cy="2615592"/>
          </a:xfrm>
        </p:spPr>
        <p:txBody>
          <a:bodyPr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06458" y="3838563"/>
            <a:ext cx="6316972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507594" y="198164"/>
            <a:ext cx="4344186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3"/>
          </p:nvPr>
        </p:nvSpPr>
        <p:spPr>
          <a:xfrm>
            <a:off x="7852033" y="198439"/>
            <a:ext cx="1964353" cy="179387"/>
          </a:xfrm>
        </p:spPr>
        <p:txBody>
          <a:bodyPr anchor="ctr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</p:spTree>
    <p:extLst>
      <p:ext uri="{BB962C8B-B14F-4D97-AF65-F5344CB8AC3E}">
        <p14:creationId xmlns:p14="http://schemas.microsoft.com/office/powerpoint/2010/main" val="34842107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Purple" preserve="1">
  <p:cSld name="Title Purple">
    <p:bg>
      <p:bgPr>
        <a:solidFill>
          <a:srgbClr val="6E27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3455988"/>
            <a:ext cx="1729349" cy="15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6457" y="1084888"/>
            <a:ext cx="6309929" cy="2615592"/>
          </a:xfrm>
        </p:spPr>
        <p:txBody>
          <a:bodyPr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06458" y="3838563"/>
            <a:ext cx="6316972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507594" y="198164"/>
            <a:ext cx="4344186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3"/>
          </p:nvPr>
        </p:nvSpPr>
        <p:spPr>
          <a:xfrm>
            <a:off x="7852033" y="198439"/>
            <a:ext cx="1964353" cy="179387"/>
          </a:xfrm>
        </p:spPr>
        <p:txBody>
          <a:bodyPr anchor="ctr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</p:spTree>
    <p:extLst>
      <p:ext uri="{BB962C8B-B14F-4D97-AF65-F5344CB8AC3E}">
        <p14:creationId xmlns:p14="http://schemas.microsoft.com/office/powerpoint/2010/main" val="31304790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Yellow" preserve="1">
  <p:cSld name="Title Yellow">
    <p:bg>
      <p:bgPr>
        <a:solidFill>
          <a:srgbClr val="FFB6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3455988"/>
            <a:ext cx="1729349" cy="15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6457" y="1084888"/>
            <a:ext cx="6309929" cy="2615592"/>
          </a:xfrm>
        </p:spPr>
        <p:txBody>
          <a:bodyPr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06458" y="3838563"/>
            <a:ext cx="6316972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507594" y="198164"/>
            <a:ext cx="4344186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3"/>
          </p:nvPr>
        </p:nvSpPr>
        <p:spPr>
          <a:xfrm>
            <a:off x="7852033" y="198439"/>
            <a:ext cx="1964353" cy="179387"/>
          </a:xfrm>
        </p:spPr>
        <p:txBody>
          <a:bodyPr anchor="ctr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</p:spTree>
    <p:extLst>
      <p:ext uri="{BB962C8B-B14F-4D97-AF65-F5344CB8AC3E}">
        <p14:creationId xmlns:p14="http://schemas.microsoft.com/office/powerpoint/2010/main" val="31123411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Magenta" preserve="1">
  <p:cSld name="Title Magenta">
    <p:bg>
      <p:bgPr>
        <a:solidFill>
          <a:srgbClr val="FF01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3455988"/>
            <a:ext cx="1729349" cy="15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6457" y="1084888"/>
            <a:ext cx="6309929" cy="2615592"/>
          </a:xfrm>
        </p:spPr>
        <p:txBody>
          <a:bodyPr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06458" y="3838563"/>
            <a:ext cx="6316972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507594" y="198164"/>
            <a:ext cx="4344186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3"/>
          </p:nvPr>
        </p:nvSpPr>
        <p:spPr>
          <a:xfrm>
            <a:off x="7852033" y="198439"/>
            <a:ext cx="1964353" cy="179387"/>
          </a:xfrm>
        </p:spPr>
        <p:txBody>
          <a:bodyPr anchor="ctr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</p:spTree>
    <p:extLst>
      <p:ext uri="{BB962C8B-B14F-4D97-AF65-F5344CB8AC3E}">
        <p14:creationId xmlns:p14="http://schemas.microsoft.com/office/powerpoint/2010/main" val="19697966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Dark Blue" preserve="1">
  <p:cSld name="Title Dark Blue">
    <p:bg>
      <p:bgPr>
        <a:solidFill>
          <a:srgbClr val="150F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3455988"/>
            <a:ext cx="1729349" cy="15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6457" y="1084888"/>
            <a:ext cx="6309929" cy="2615592"/>
          </a:xfrm>
        </p:spPr>
        <p:txBody>
          <a:bodyPr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06458" y="3838563"/>
            <a:ext cx="6316972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507594" y="198164"/>
            <a:ext cx="4344186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3"/>
          </p:nvPr>
        </p:nvSpPr>
        <p:spPr>
          <a:xfrm>
            <a:off x="7852033" y="198439"/>
            <a:ext cx="1964353" cy="179387"/>
          </a:xfrm>
        </p:spPr>
        <p:txBody>
          <a:bodyPr anchor="ctr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</p:spTree>
    <p:extLst>
      <p:ext uri="{BB962C8B-B14F-4D97-AF65-F5344CB8AC3E}">
        <p14:creationId xmlns:p14="http://schemas.microsoft.com/office/powerpoint/2010/main" val="307349313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Red" preserve="1">
  <p:cSld name="Title Red">
    <p:bg>
      <p:bgPr>
        <a:solidFill>
          <a:srgbClr val="F13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3455988"/>
            <a:ext cx="1729349" cy="15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6457" y="1084888"/>
            <a:ext cx="6309929" cy="2615592"/>
          </a:xfrm>
        </p:spPr>
        <p:txBody>
          <a:bodyPr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06458" y="3838563"/>
            <a:ext cx="6316972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507594" y="198164"/>
            <a:ext cx="4344186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3"/>
          </p:nvPr>
        </p:nvSpPr>
        <p:spPr>
          <a:xfrm>
            <a:off x="7852033" y="198439"/>
            <a:ext cx="1964353" cy="179387"/>
          </a:xfrm>
        </p:spPr>
        <p:txBody>
          <a:bodyPr anchor="ctr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</p:spTree>
    <p:extLst>
      <p:ext uri="{BB962C8B-B14F-4D97-AF65-F5344CB8AC3E}">
        <p14:creationId xmlns:p14="http://schemas.microsoft.com/office/powerpoint/2010/main" val="208440679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Light Gray" preserve="1">
  <p:cSld name="Title Light Gray">
    <p:bg>
      <p:bgPr>
        <a:solidFill>
          <a:srgbClr val="AFAF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3455988"/>
            <a:ext cx="1729349" cy="15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6457" y="1084888"/>
            <a:ext cx="6309929" cy="2615592"/>
          </a:xfrm>
        </p:spPr>
        <p:txBody>
          <a:bodyPr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06458" y="3838563"/>
            <a:ext cx="6316972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507594" y="198164"/>
            <a:ext cx="4344186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3"/>
          </p:nvPr>
        </p:nvSpPr>
        <p:spPr>
          <a:xfrm>
            <a:off x="7852033" y="198439"/>
            <a:ext cx="1964353" cy="179387"/>
          </a:xfrm>
        </p:spPr>
        <p:txBody>
          <a:bodyPr anchor="ctr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</p:spTree>
    <p:extLst>
      <p:ext uri="{BB962C8B-B14F-4D97-AF65-F5344CB8AC3E}">
        <p14:creationId xmlns:p14="http://schemas.microsoft.com/office/powerpoint/2010/main" val="32825155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Green" preserve="1">
  <p:cSld name="Title Green">
    <p:bg>
      <p:bgPr>
        <a:solidFill>
          <a:srgbClr val="7AC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3455988"/>
            <a:ext cx="1729349" cy="15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6457" y="1084888"/>
            <a:ext cx="6309929" cy="2615592"/>
          </a:xfrm>
        </p:spPr>
        <p:txBody>
          <a:bodyPr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06458" y="3838563"/>
            <a:ext cx="6316972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507594" y="198164"/>
            <a:ext cx="4344186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3"/>
          </p:nvPr>
        </p:nvSpPr>
        <p:spPr>
          <a:xfrm>
            <a:off x="7852033" y="198439"/>
            <a:ext cx="1964353" cy="179387"/>
          </a:xfrm>
        </p:spPr>
        <p:txBody>
          <a:bodyPr anchor="ctr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</p:spTree>
    <p:extLst>
      <p:ext uri="{BB962C8B-B14F-4D97-AF65-F5344CB8AC3E}">
        <p14:creationId xmlns:p14="http://schemas.microsoft.com/office/powerpoint/2010/main" val="186668524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prstClr val="black"/>
                </a:solidFill>
              </a:rPr>
              <a:t>This is the slide </a:t>
            </a:r>
            <a:r>
              <a:rPr lang="en-GB" dirty="0">
                <a:solidFill>
                  <a:prstClr val="black"/>
                </a:solidFill>
              </a:rPr>
              <a:t>foote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B29F69-6801-4283-8EE9-215186317B4E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prstClr val="black"/>
                </a:solidFill>
              </a:rPr>
              <a:t>Month XX, 2016</a:t>
            </a:r>
          </a:p>
        </p:txBody>
      </p:sp>
    </p:spTree>
    <p:extLst>
      <p:ext uri="{BB962C8B-B14F-4D97-AF65-F5344CB8AC3E}">
        <p14:creationId xmlns:p14="http://schemas.microsoft.com/office/powerpoint/2010/main" val="23450062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Magenta" preserve="1" userDrawn="1">
  <p:cSld name="Title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9842" y="1084888"/>
            <a:ext cx="7296870" cy="2615592"/>
          </a:xfrm>
        </p:spPr>
        <p:txBody>
          <a:bodyPr anchor="b"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29842" y="3838563"/>
            <a:ext cx="7296870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325" y="517233"/>
            <a:ext cx="952038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851779" y="198164"/>
            <a:ext cx="2074933" cy="18000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3F7355F-59D9-4B15-B7A2-069ADDF07430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629842" y="198164"/>
            <a:ext cx="5221938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Presenter Name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686" y="3457891"/>
            <a:ext cx="1296715" cy="15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0693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9211" y="1772817"/>
            <a:ext cx="4474062" cy="43200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29767" y="1772816"/>
            <a:ext cx="4474062" cy="43200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prstClr val="black"/>
                </a:solidFill>
              </a:rPr>
              <a:t>This is the slide </a:t>
            </a:r>
            <a:r>
              <a:rPr lang="en-GB" dirty="0">
                <a:solidFill>
                  <a:prstClr val="black"/>
                </a:solidFill>
              </a:rPr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C7F5FD-7997-4F75-83B7-A4465D1FA2E9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prstClr val="black"/>
                </a:solidFill>
              </a:rPr>
              <a:t>Month XX, 2016</a:t>
            </a:r>
          </a:p>
        </p:txBody>
      </p:sp>
    </p:spTree>
    <p:extLst>
      <p:ext uri="{BB962C8B-B14F-4D97-AF65-F5344CB8AC3E}">
        <p14:creationId xmlns:p14="http://schemas.microsoft.com/office/powerpoint/2010/main" val="9259085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 type="two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9211" y="1773240"/>
            <a:ext cx="2847688" cy="43195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93950" y="1773239"/>
            <a:ext cx="3022436" cy="43195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3661580" y="1773239"/>
            <a:ext cx="2847688" cy="43195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prstClr val="black"/>
                </a:solidFill>
              </a:rPr>
              <a:t>This is the slide </a:t>
            </a:r>
            <a:r>
              <a:rPr lang="en-GB" dirty="0">
                <a:solidFill>
                  <a:prstClr val="black"/>
                </a:solidFill>
              </a:rPr>
              <a:t>foot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9E2684-28E8-460F-BD69-92DF972155B6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prstClr val="black"/>
                </a:solidFill>
              </a:rPr>
              <a:t>Month XX, 2016</a:t>
            </a:r>
          </a:p>
        </p:txBody>
      </p:sp>
    </p:spTree>
    <p:extLst>
      <p:ext uri="{BB962C8B-B14F-4D97-AF65-F5344CB8AC3E}">
        <p14:creationId xmlns:p14="http://schemas.microsoft.com/office/powerpoint/2010/main" val="215555515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prstClr val="black"/>
                </a:solidFill>
              </a:rPr>
              <a:t>This is the slide </a:t>
            </a:r>
            <a:r>
              <a:rPr lang="en-GB" dirty="0">
                <a:solidFill>
                  <a:prstClr val="black"/>
                </a:solidFill>
              </a:rPr>
              <a:t>footer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74E186-269B-4D9B-817D-50E0A9896648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prstClr val="black"/>
                </a:solidFill>
              </a:rPr>
              <a:t>Month XX, 2016</a:t>
            </a:r>
          </a:p>
        </p:txBody>
      </p:sp>
    </p:spTree>
    <p:extLst>
      <p:ext uri="{BB962C8B-B14F-4D97-AF65-F5344CB8AC3E}">
        <p14:creationId xmlns:p14="http://schemas.microsoft.com/office/powerpoint/2010/main" val="119952332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prstClr val="black"/>
                </a:solidFill>
              </a:rPr>
              <a:t>This is the slide </a:t>
            </a:r>
            <a:r>
              <a:rPr lang="en-GB" dirty="0">
                <a:solidFill>
                  <a:prstClr val="black"/>
                </a:solidFill>
              </a:rPr>
              <a:t>footer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F007E5-6E81-4905-904F-01D61E43AF19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prstClr val="black"/>
                </a:solidFill>
              </a:rPr>
              <a:t>Month XX, 2016</a:t>
            </a:r>
          </a:p>
        </p:txBody>
      </p:sp>
    </p:spTree>
    <p:extLst>
      <p:ext uri="{BB962C8B-B14F-4D97-AF65-F5344CB8AC3E}">
        <p14:creationId xmlns:p14="http://schemas.microsoft.com/office/powerpoint/2010/main" val="414584469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Turquoise" preserve="1">
  <p:cSld name="Quote Turquoi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6454776"/>
            <a:ext cx="1410029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514311" y="1435620"/>
            <a:ext cx="5076822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This is the slide </a:t>
            </a:r>
            <a:r>
              <a:rPr lang="en-GB" dirty="0">
                <a:solidFill>
                  <a:prstClr val="white"/>
                </a:solidFill>
              </a:rPr>
              <a:t>footer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F02B9E3-2B1E-4D25-A870-02569A5D15BD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45992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Orange" preserve="1">
  <p:cSld name="Quot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6454776"/>
            <a:ext cx="1410029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514311" y="1435620"/>
            <a:ext cx="5076822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This is the slide </a:t>
            </a:r>
            <a:r>
              <a:rPr lang="en-GB" dirty="0">
                <a:solidFill>
                  <a:prstClr val="white"/>
                </a:solidFill>
              </a:rPr>
              <a:t>footer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65B095D-B58C-40D8-ABD3-EA829DCA1685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2436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Purple" preserve="1">
  <p:cSld name="Quote Purple">
    <p:bg>
      <p:bgPr>
        <a:solidFill>
          <a:srgbClr val="6E27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6454776"/>
            <a:ext cx="1410029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514311" y="1435620"/>
            <a:ext cx="5076822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This is the slide </a:t>
            </a:r>
            <a:r>
              <a:rPr lang="en-GB" dirty="0">
                <a:solidFill>
                  <a:prstClr val="white"/>
                </a:solidFill>
              </a:rPr>
              <a:t>footer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A99A47-B84F-4CEC-9C17-B9328DDB944A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27989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Yellow" preserve="1">
  <p:cSld name="Quote Yellow">
    <p:bg>
      <p:bgPr>
        <a:solidFill>
          <a:srgbClr val="FFB6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6454776"/>
            <a:ext cx="1410029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514311" y="1435620"/>
            <a:ext cx="5076822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This is the slide </a:t>
            </a:r>
            <a:r>
              <a:rPr lang="en-GB" dirty="0">
                <a:solidFill>
                  <a:prstClr val="white"/>
                </a:solidFill>
              </a:rPr>
              <a:t>footer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AAB8C33-B61C-478D-B51D-1C1503DDA87A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61824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Magenta" preserve="1">
  <p:cSld name="Quote Magenta">
    <p:bg>
      <p:bgPr>
        <a:solidFill>
          <a:srgbClr val="FF01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6454776"/>
            <a:ext cx="1410029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514311" y="1435620"/>
            <a:ext cx="5076822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This is the slide </a:t>
            </a:r>
            <a:r>
              <a:rPr lang="en-GB" dirty="0">
                <a:solidFill>
                  <a:prstClr val="white"/>
                </a:solidFill>
              </a:rPr>
              <a:t>footer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455E9EA-2FC7-41D8-BB06-825FFC5035CB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95269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Dark Blue" preserve="1">
  <p:cSld name="Quote Dark Blue">
    <p:bg>
      <p:bgPr>
        <a:solidFill>
          <a:srgbClr val="150F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6454776"/>
            <a:ext cx="1410029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514311" y="1435620"/>
            <a:ext cx="5076822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This is the slide </a:t>
            </a:r>
            <a:r>
              <a:rPr lang="en-GB" dirty="0">
                <a:solidFill>
                  <a:prstClr val="white"/>
                </a:solidFill>
              </a:rPr>
              <a:t>footer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610C031-5582-496C-B9FA-AFF2AE337680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1595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Dark Blue" preserve="1" userDrawn="1">
  <p:cSld name="Title Dark Blu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9842" y="1084888"/>
            <a:ext cx="7296870" cy="2615592"/>
          </a:xfrm>
        </p:spPr>
        <p:txBody>
          <a:bodyPr anchor="b"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29843" y="3838563"/>
            <a:ext cx="7296871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2686" y="517233"/>
            <a:ext cx="9524026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851779" y="198164"/>
            <a:ext cx="2074933" cy="18000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8B6D070-CEAD-4B53-9A04-293A45B82D8D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629842" y="198164"/>
            <a:ext cx="5221938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Presenter Name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686" y="3457891"/>
            <a:ext cx="1296715" cy="15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3938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Red" preserve="1">
  <p:cSld name="Quote Red">
    <p:bg>
      <p:bgPr>
        <a:solidFill>
          <a:srgbClr val="F13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6454776"/>
            <a:ext cx="1410029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514311" y="1435620"/>
            <a:ext cx="5076822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This is the slide </a:t>
            </a:r>
            <a:r>
              <a:rPr lang="en-GB" dirty="0">
                <a:solidFill>
                  <a:prstClr val="white"/>
                </a:solidFill>
              </a:rPr>
              <a:t>footer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67AEB33-9962-4836-A0B7-A96326FAF5FD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502749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Light Grey" preserve="1">
  <p:cSld name="Quote Light Grey">
    <p:bg>
      <p:bgPr>
        <a:solidFill>
          <a:srgbClr val="AFAF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6454776"/>
            <a:ext cx="1410029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514311" y="1435620"/>
            <a:ext cx="5076822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This is the slide </a:t>
            </a:r>
            <a:r>
              <a:rPr lang="en-GB" dirty="0">
                <a:solidFill>
                  <a:prstClr val="white"/>
                </a:solidFill>
              </a:rPr>
              <a:t>footer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6F736E-CF1C-47C5-9814-8B9F2F8E6646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986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Green" preserve="1">
  <p:cSld name="Quote Green">
    <p:bg>
      <p:bgPr>
        <a:solidFill>
          <a:srgbClr val="7AC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516652" y="517525"/>
            <a:ext cx="92997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0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36386" y="6454776"/>
            <a:ext cx="1410029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514311" y="1435620"/>
            <a:ext cx="5076822" cy="3371056"/>
          </a:xfrm>
        </p:spPr>
        <p:txBody>
          <a:bodyPr anchor="b">
            <a:normAutofit/>
          </a:bodyPr>
          <a:lstStyle>
            <a:lvl1pPr marL="0" indent="0">
              <a:lnSpc>
                <a:spcPts val="2300"/>
              </a:lnSpc>
              <a:spcAft>
                <a:spcPts val="0"/>
              </a:spcAft>
              <a:buNone/>
              <a:defRPr sz="2200" spc="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Month XX, 2016</a:t>
            </a: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prstClr val="white"/>
                </a:solidFill>
              </a:rPr>
              <a:t>This is the slide </a:t>
            </a:r>
            <a:r>
              <a:rPr lang="en-GB" dirty="0">
                <a:solidFill>
                  <a:prstClr val="white"/>
                </a:solidFill>
              </a:rPr>
              <a:t>footer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DEAAE8E-9D69-4EF5-9001-971F6B9989DC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7677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Turquoise" type="blank" preserve="1">
  <p:cSld name="Closing Slide Turquoi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9210" y="3270251"/>
            <a:ext cx="3578890" cy="4302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9572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hubb</a:t>
            </a:r>
            <a:r>
              <a:rPr lang="en-GB" sz="2800" spc="-5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 Insured</a:t>
            </a: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0720984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Orange" type="blank" preserve="1">
  <p:cSld name="Closing Sl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9210" y="3270251"/>
            <a:ext cx="3578890" cy="4302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9572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hubb</a:t>
            </a:r>
            <a:r>
              <a:rPr lang="en-GB" sz="2800" spc="-5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 Insured</a:t>
            </a: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821291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Purple" type="blank" preserve="1">
  <p:cSld name="Closing Slide Purple">
    <p:bg>
      <p:bgPr>
        <a:solidFill>
          <a:srgbClr val="6E27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9210" y="3270251"/>
            <a:ext cx="3578890" cy="4302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9572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hubb</a:t>
            </a:r>
            <a:r>
              <a:rPr lang="en-GB" sz="2800" spc="-5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 Insured</a:t>
            </a: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5748337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Yellow" type="blank" preserve="1">
  <p:cSld name="Closing Slide Yellow">
    <p:bg>
      <p:bgPr>
        <a:solidFill>
          <a:srgbClr val="FFB6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9210" y="3270251"/>
            <a:ext cx="3578890" cy="4302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9572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hubb</a:t>
            </a:r>
            <a:r>
              <a:rPr lang="en-GB" sz="2800" spc="-5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 Insured</a:t>
            </a: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051204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Magenta" type="blank" preserve="1">
  <p:cSld name="Closing Slide Magenta">
    <p:bg>
      <p:bgPr>
        <a:solidFill>
          <a:srgbClr val="FF01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9210" y="3270251"/>
            <a:ext cx="3578890" cy="4302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9572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hubb</a:t>
            </a:r>
            <a:r>
              <a:rPr lang="en-GB" sz="2800" spc="-5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 Insured</a:t>
            </a: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1609857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Dark Blue" type="blank" preserve="1">
  <p:cSld name="Closing Slide Dark Blue">
    <p:bg>
      <p:bgPr>
        <a:solidFill>
          <a:srgbClr val="150F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9210" y="3270251"/>
            <a:ext cx="3578890" cy="4302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9572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hubb</a:t>
            </a:r>
            <a:r>
              <a:rPr lang="en-GB" sz="2800" spc="-5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 Insured</a:t>
            </a: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1064389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Red" type="blank" preserve="1">
  <p:cSld name="Closing Slide Red">
    <p:bg>
      <p:bgPr>
        <a:solidFill>
          <a:srgbClr val="F13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9210" y="3270251"/>
            <a:ext cx="3578890" cy="4302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9572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hubb</a:t>
            </a:r>
            <a:r>
              <a:rPr lang="en-GB" sz="2800" spc="-5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 Insured</a:t>
            </a: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71684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Red" preserve="1" userDrawn="1">
  <p:cSld name="Title Red">
    <p:bg>
      <p:bgPr>
        <a:solidFill>
          <a:srgbClr val="F135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9842" y="1084888"/>
            <a:ext cx="7296870" cy="2615592"/>
          </a:xfrm>
        </p:spPr>
        <p:txBody>
          <a:bodyPr anchor="b"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29843" y="3838563"/>
            <a:ext cx="7296871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2686" y="517233"/>
            <a:ext cx="9524026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851779" y="198164"/>
            <a:ext cx="2074933" cy="18000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5F28026C-9853-4899-9882-E4E98828DFEC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629842" y="198164"/>
            <a:ext cx="5221938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Presenter Name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686" y="3457891"/>
            <a:ext cx="1296715" cy="15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57891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Light Grey" type="blank" preserve="1">
  <p:cSld name="Closing Slide Light Grey">
    <p:bg>
      <p:bgPr>
        <a:solidFill>
          <a:srgbClr val="AFAF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9210" y="3270251"/>
            <a:ext cx="3578890" cy="4302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9572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hubb</a:t>
            </a:r>
            <a:r>
              <a:rPr lang="en-GB" sz="2800" spc="-5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 Insured</a:t>
            </a: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8014933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 Green" type="blank" preserve="1">
  <p:cSld name="Closing Slide Green">
    <p:bg>
      <p:bgPr>
        <a:solidFill>
          <a:srgbClr val="7AC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9210" y="3270251"/>
            <a:ext cx="3578890" cy="4302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9572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hubb</a:t>
            </a:r>
            <a:r>
              <a:rPr lang="en-GB" sz="2800" spc="-5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 Insured</a:t>
            </a:r>
            <a:r>
              <a:rPr lang="en-GB" sz="2800" spc="-5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5478931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1" descr="shutterstock_111035876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46"/>
          <a:stretch>
            <a:fillRect/>
          </a:stretch>
        </p:blipFill>
        <p:spPr bwMode="auto">
          <a:xfrm>
            <a:off x="0" y="973138"/>
            <a:ext cx="10333038" cy="5884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>
            <p:custDataLst>
              <p:tags r:id="rId1"/>
            </p:custDataLst>
          </p:nvPr>
        </p:nvSpPr>
        <p:spPr>
          <a:xfrm>
            <a:off x="0" y="6400800"/>
            <a:ext cx="10333038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6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0" y="1"/>
            <a:ext cx="10333038" cy="26828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57756">
              <a:defRPr/>
            </a:pPr>
            <a:endParaRPr lang="en-US" sz="10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pic>
        <p:nvPicPr>
          <p:cNvPr id="7" name="Image 10" descr="Capgemini_logo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803" y="658813"/>
            <a:ext cx="3254189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8803" y="6508750"/>
            <a:ext cx="3264953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2959927"/>
            <a:ext cx="5689880" cy="1098157"/>
          </a:xfrm>
        </p:spPr>
        <p:txBody>
          <a:bodyPr lIns="720000" r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5681" y="4949634"/>
            <a:ext cx="5257359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4378013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504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5042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7"/>
          <p:cNvSpPr>
            <a:spLocks/>
          </p:cNvSpPr>
          <p:nvPr userDrawn="1"/>
        </p:nvSpPr>
        <p:spPr bwMode="auto">
          <a:xfrm flipH="1">
            <a:off x="0" y="0"/>
            <a:ext cx="4153034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defTabSz="957756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srgbClr val="EEECE1"/>
              </a:solidFill>
              <a:latin typeface="Arial" charset="0"/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7877" y="962025"/>
            <a:ext cx="3258881" cy="2248140"/>
          </a:xfrm>
          <a:prstGeom prst="rect">
            <a:avLst/>
          </a:prstGeom>
        </p:spPr>
        <p:txBody>
          <a:bodyPr lIns="180000" rIns="3600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318473" y="1512000"/>
            <a:ext cx="5482803" cy="47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1816592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504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5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5042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981737" y="6661264"/>
            <a:ext cx="110607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957263" fontAlgn="base">
              <a:spcBef>
                <a:spcPct val="0"/>
              </a:spcBef>
              <a:spcAft>
                <a:spcPct val="0"/>
              </a:spcAft>
              <a:defRPr/>
            </a:pPr>
            <a:fld id="{E12C739D-6ED4-40BA-BBE5-F60107872EB0}" type="slidenum">
              <a:rPr lang="en-US" altLang="en-US" sz="700" smtClean="0">
                <a:solidFill>
                  <a:srgbClr val="1F497D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700" dirty="0">
              <a:solidFill>
                <a:srgbClr val="1F497D"/>
              </a:solidFill>
              <a:cs typeface="Arial" pitchFamily="34" charset="0"/>
            </a:endParaRPr>
          </a:p>
        </p:txBody>
      </p:sp>
      <p:sp>
        <p:nvSpPr>
          <p:cNvPr id="6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6"/>
            <a:ext cx="10333038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032207" y="6623050"/>
            <a:ext cx="2775211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95363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95363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95363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95363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953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953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953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953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600" dirty="0">
                <a:solidFill>
                  <a:srgbClr val="1F497D"/>
                </a:solidFill>
                <a:ea typeface="Helvetica Light"/>
                <a:cs typeface="Helvetica Light"/>
              </a:rPr>
              <a:t>Copyright © Capgemini 2015. </a:t>
            </a:r>
            <a:r>
              <a:rPr lang="en-US" altLang="en-US" sz="600">
                <a:solidFill>
                  <a:srgbClr val="1F497D"/>
                </a:solidFill>
                <a:ea typeface="Helvetica Light"/>
                <a:cs typeface="Helvetica Light"/>
              </a:rPr>
              <a:t>All Rights Reserved</a:t>
            </a:r>
            <a:endParaRPr lang="en-US" altLang="en-US" sz="600" dirty="0">
              <a:solidFill>
                <a:srgbClr val="1F497D"/>
              </a:solidFill>
              <a:ea typeface="Helvetica Light"/>
              <a:cs typeface="Helvetica Light"/>
            </a:endParaRPr>
          </a:p>
        </p:txBody>
      </p:sp>
      <p:sp>
        <p:nvSpPr>
          <p:cNvPr id="8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810772" y="6427788"/>
            <a:ext cx="1996645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>
            <a:lvl1pPr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defTabSz="9572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700">
                <a:solidFill>
                  <a:srgbClr val="1F497D"/>
                </a:solidFill>
                <a:cs typeface="Arial" pitchFamily="34" charset="0"/>
              </a:rPr>
              <a:t>Presentation </a:t>
            </a:r>
            <a:r>
              <a:rPr lang="en-US" altLang="en-US" sz="700" dirty="0">
                <a:solidFill>
                  <a:srgbClr val="1F497D"/>
                </a:solidFill>
                <a:cs typeface="Arial" pitchFamily="34" charset="0"/>
              </a:rPr>
              <a:t>Title | Date</a:t>
            </a:r>
          </a:p>
        </p:txBody>
      </p:sp>
      <p:cxnSp>
        <p:nvCxnSpPr>
          <p:cNvPr id="9" name="Straight Connector 5"/>
          <p:cNvCxnSpPr/>
          <p:nvPr>
            <p:custDataLst>
              <p:tags r:id="rId7"/>
            </p:custDataLst>
          </p:nvPr>
        </p:nvCxnSpPr>
        <p:spPr>
          <a:xfrm flipH="1">
            <a:off x="0" y="6362700"/>
            <a:ext cx="10333038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69" y="6438900"/>
            <a:ext cx="1625301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15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" y="1"/>
          <a:ext cx="154278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53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54278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333" y="1494767"/>
            <a:ext cx="9995705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7851341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5717256" y="6477001"/>
            <a:ext cx="2674749" cy="365125"/>
          </a:xfr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2927694" y="6477001"/>
            <a:ext cx="2755477" cy="365125"/>
          </a:xfr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384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Green" preserve="1" userDrawn="1">
  <p:cSld name="Title Green">
    <p:bg>
      <p:bgPr>
        <a:solidFill>
          <a:srgbClr val="7AC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9842" y="1084888"/>
            <a:ext cx="7296870" cy="2615592"/>
          </a:xfrm>
        </p:spPr>
        <p:txBody>
          <a:bodyPr anchor="b">
            <a:normAutofit/>
          </a:bodyPr>
          <a:lstStyle>
            <a:lvl1pPr algn="l">
              <a:lnSpc>
                <a:spcPts val="4500"/>
              </a:lnSpc>
              <a:defRPr sz="4000" spc="2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29842" y="3838563"/>
            <a:ext cx="7296870" cy="14687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325" y="517233"/>
            <a:ext cx="952038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851780" y="198164"/>
            <a:ext cx="2074974" cy="18000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5AF4D0EE-7C0F-40F8-994B-F5F87825EDE1}" type="datetime3">
              <a:rPr lang="en-GB" smtClean="0"/>
              <a:t>14 December, 2018</a:t>
            </a:fld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629842" y="198164"/>
            <a:ext cx="5221938" cy="180000"/>
          </a:xfrm>
        </p:spPr>
        <p:txBody>
          <a:bodyPr anchor="ctr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Presenter Name</a:t>
            </a:r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02686" y="3457891"/>
            <a:ext cx="1296715" cy="15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24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9" Type="http://schemas.openxmlformats.org/officeDocument/2006/relationships/image" Target="../media/image5.emf"/><Relationship Id="rId21" Type="http://schemas.openxmlformats.org/officeDocument/2006/relationships/slideLayout" Target="../slideLayouts/slideLayout70.xml"/><Relationship Id="rId34" Type="http://schemas.openxmlformats.org/officeDocument/2006/relationships/slideLayout" Target="../slideLayouts/slideLayout83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38" Type="http://schemas.openxmlformats.org/officeDocument/2006/relationships/tags" Target="../tags/tag21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37" Type="http://schemas.openxmlformats.org/officeDocument/2006/relationships/theme" Target="../theme/theme2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36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slideLayout" Target="../slideLayouts/slideLayout84.xml"/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3856" y="914400"/>
            <a:ext cx="9522856" cy="10408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326" y="1772816"/>
            <a:ext cx="9520386" cy="43204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29842" y="6400800"/>
            <a:ext cx="674765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7496" y="6400800"/>
            <a:ext cx="54921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</a:lstStyle>
          <a:p>
            <a:fld id="{29295DE6-5E79-4E0C-95AA-63D191DA736D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403856" y="517233"/>
            <a:ext cx="952285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/>
          </p:cNvPicPr>
          <p:nvPr>
            <p:custDataLst>
              <p:tags r:id="rId51"/>
            </p:custDataLst>
          </p:nvPr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2331" y="207912"/>
            <a:ext cx="1062043" cy="126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12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5" r:id="rId2"/>
    <p:sldLayoutId id="2147483661" r:id="rId3"/>
    <p:sldLayoutId id="2147483669" r:id="rId4"/>
    <p:sldLayoutId id="2147483670" r:id="rId5"/>
    <p:sldLayoutId id="2147483672" r:id="rId6"/>
    <p:sldLayoutId id="2147483673" r:id="rId7"/>
    <p:sldLayoutId id="2147483674" r:id="rId8"/>
    <p:sldLayoutId id="2147483676" r:id="rId9"/>
    <p:sldLayoutId id="2147483662" r:id="rId10"/>
    <p:sldLayoutId id="2147483664" r:id="rId11"/>
    <p:sldLayoutId id="2147483668" r:id="rId12"/>
    <p:sldLayoutId id="2147483666" r:id="rId13"/>
    <p:sldLayoutId id="2147483667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78" r:id="rId24"/>
    <p:sldLayoutId id="2147483679" r:id="rId25"/>
    <p:sldLayoutId id="2147483680" r:id="rId26"/>
    <p:sldLayoutId id="2147483681" r:id="rId27"/>
    <p:sldLayoutId id="2147483682" r:id="rId28"/>
    <p:sldLayoutId id="2147483683" r:id="rId29"/>
    <p:sldLayoutId id="2147483684" r:id="rId30"/>
    <p:sldLayoutId id="2147483685" r:id="rId31"/>
    <p:sldLayoutId id="2147483686" r:id="rId32"/>
    <p:sldLayoutId id="2147483697" r:id="rId33"/>
    <p:sldLayoutId id="2147483698" r:id="rId34"/>
    <p:sldLayoutId id="2147483699" r:id="rId35"/>
    <p:sldLayoutId id="2147483701" r:id="rId36"/>
    <p:sldLayoutId id="2147483702" r:id="rId37"/>
    <p:sldLayoutId id="2147483703" r:id="rId38"/>
    <p:sldLayoutId id="2147483704" r:id="rId39"/>
    <p:sldLayoutId id="2147483705" r:id="rId40"/>
    <p:sldLayoutId id="2147483706" r:id="rId41"/>
    <p:sldLayoutId id="2147483707" r:id="rId42"/>
    <p:sldLayoutId id="2147483708" r:id="rId43"/>
    <p:sldLayoutId id="2147483709" r:id="rId44"/>
    <p:sldLayoutId id="2147483710" r:id="rId45"/>
    <p:sldLayoutId id="2147483711" r:id="rId46"/>
    <p:sldLayoutId id="2147483712" r:id="rId47"/>
    <p:sldLayoutId id="2147483714" r:id="rId48"/>
    <p:sldLayoutId id="2147483715" r:id="rId49"/>
  </p:sldLayoutIdLst>
  <p:hf hdr="0" ftr="0"/>
  <p:txStyles>
    <p:titleStyle>
      <a:lvl1pPr algn="l" defTabSz="914400" rtl="0" eaLnBrk="1" latinLnBrk="0" hangingPunct="1">
        <a:lnSpc>
          <a:spcPts val="2300"/>
        </a:lnSpc>
        <a:spcBef>
          <a:spcPts val="0"/>
        </a:spcBef>
        <a:buNone/>
        <a:defRPr sz="2400" b="0" i="0" u="none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ts val="1500"/>
        </a:lnSpc>
        <a:spcBef>
          <a:spcPts val="0"/>
        </a:spcBef>
        <a:spcAft>
          <a:spcPts val="75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ts val="1500"/>
        </a:lnSpc>
        <a:spcBef>
          <a:spcPts val="0"/>
        </a:spcBef>
        <a:spcAft>
          <a:spcPts val="0"/>
        </a:spcAft>
        <a:buFont typeface="Symbol" panose="05050102010706020507" pitchFamily="18" charset="2"/>
        <a:buChar char="-"/>
        <a:defRPr sz="14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ts val="1500"/>
        </a:lnSpc>
        <a:spcBef>
          <a:spcPts val="0"/>
        </a:spcBef>
        <a:spcAft>
          <a:spcPts val="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ts val="1500"/>
        </a:lnSpc>
        <a:spcBef>
          <a:spcPts val="0"/>
        </a:spcBef>
        <a:spcAft>
          <a:spcPts val="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ts val="1500"/>
        </a:lnSpc>
        <a:spcBef>
          <a:spcPts val="0"/>
        </a:spcBef>
        <a:spcAft>
          <a:spcPts val="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29211" y="549276"/>
            <a:ext cx="9287176" cy="103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</a:t>
            </a:r>
            <a:br>
              <a:rPr lang="en-GB" altLang="en-US"/>
            </a:br>
            <a:r>
              <a:rPr lang="en-GB" altLang="en-US"/>
              <a:t>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29211" y="1773239"/>
            <a:ext cx="9287176" cy="431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14311" y="6453189"/>
            <a:ext cx="5801570" cy="179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</a:lstStyle>
          <a:p>
            <a:pPr defTabSz="957263" fontAlgn="base">
              <a:spcAft>
                <a:spcPct val="0"/>
              </a:spcAft>
              <a:defRPr/>
            </a:pPr>
            <a:r>
              <a:rPr lang="en-GB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his is the slide </a:t>
            </a:r>
            <a:r>
              <a:rPr lang="en-GB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15880" y="6453189"/>
            <a:ext cx="500506" cy="179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</a:lstStyle>
          <a:p>
            <a:pPr defTabSz="957263" fontAlgn="base">
              <a:spcAft>
                <a:spcPct val="0"/>
              </a:spcAft>
              <a:defRPr/>
            </a:pPr>
            <a:fld id="{D2E9D3CA-2BDF-4956-BC63-7B4BC57EB045}" type="slidenum">
              <a:rPr lang="en-GB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defTabSz="957263" fontAlgn="base"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852033" y="260351"/>
            <a:ext cx="1964353" cy="180975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onth XX, 2016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529211" y="517525"/>
            <a:ext cx="928717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2" name="Picture 3"/>
          <p:cNvPicPr>
            <a:picLocks/>
          </p:cNvPicPr>
          <p:nvPr>
            <p:custDataLst>
              <p:tags r:id="rId38"/>
            </p:custDataLst>
          </p:nvPr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180" y="6453189"/>
            <a:ext cx="1417205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2552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40" r:id="rId21"/>
    <p:sldLayoutId id="2147483741" r:id="rId22"/>
    <p:sldLayoutId id="2147483742" r:id="rId23"/>
    <p:sldLayoutId id="2147483743" r:id="rId24"/>
    <p:sldLayoutId id="2147483744" r:id="rId25"/>
    <p:sldLayoutId id="2147483745" r:id="rId26"/>
    <p:sldLayoutId id="2147483746" r:id="rId27"/>
    <p:sldLayoutId id="2147483747" r:id="rId28"/>
    <p:sldLayoutId id="2147483748" r:id="rId29"/>
    <p:sldLayoutId id="2147483749" r:id="rId30"/>
    <p:sldLayoutId id="2147483750" r:id="rId31"/>
    <p:sldLayoutId id="2147483751" r:id="rId32"/>
    <p:sldLayoutId id="2147483752" r:id="rId33"/>
    <p:sldLayoutId id="2147483753" r:id="rId34"/>
    <p:sldLayoutId id="2147483754" r:id="rId35"/>
    <p:sldLayoutId id="2147483756" r:id="rId36"/>
  </p:sldLayoutIdLst>
  <p:txStyles>
    <p:titleStyle>
      <a:lvl1pPr algn="l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Georgia" pitchFamily="18" charset="0"/>
        </a:defRPr>
      </a:lvl2pPr>
      <a:lvl3pPr algn="l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Georgia" pitchFamily="18" charset="0"/>
        </a:defRPr>
      </a:lvl3pPr>
      <a:lvl4pPr algn="l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Georgia" pitchFamily="18" charset="0"/>
        </a:defRPr>
      </a:lvl4pPr>
      <a:lvl5pPr algn="l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Georgia" pitchFamily="18" charset="0"/>
        </a:defRPr>
      </a:lvl5pPr>
      <a:lvl6pPr marL="457200" algn="l" rtl="0" fontAlgn="base">
        <a:lnSpc>
          <a:spcPts val="23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Georgia" pitchFamily="18" charset="0"/>
        </a:defRPr>
      </a:lvl6pPr>
      <a:lvl7pPr marL="914400" algn="l" rtl="0" fontAlgn="base">
        <a:lnSpc>
          <a:spcPts val="23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Georgia" pitchFamily="18" charset="0"/>
        </a:defRPr>
      </a:lvl7pPr>
      <a:lvl8pPr marL="1371600" algn="l" rtl="0" fontAlgn="base">
        <a:lnSpc>
          <a:spcPts val="23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Georgia" pitchFamily="18" charset="0"/>
        </a:defRPr>
      </a:lvl8pPr>
      <a:lvl9pPr marL="1828800" algn="l" rtl="0" fontAlgn="base">
        <a:lnSpc>
          <a:spcPts val="23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Georgia" pitchFamily="18" charset="0"/>
        </a:defRPr>
      </a:lvl9pPr>
    </p:titleStyle>
    <p:bodyStyle>
      <a:lvl1pPr marL="179388" indent="-179388" algn="l" rtl="0" eaLnBrk="0" fontAlgn="base" hangingPunct="0">
        <a:lnSpc>
          <a:spcPts val="1500"/>
        </a:lnSpc>
        <a:spcBef>
          <a:spcPct val="0"/>
        </a:spcBef>
        <a:spcAft>
          <a:spcPts val="75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rtl="0" eaLnBrk="0" fontAlgn="base" hangingPunct="0">
        <a:lnSpc>
          <a:spcPts val="15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rtl="0" eaLnBrk="0" fontAlgn="base" hangingPunct="0">
        <a:lnSpc>
          <a:spcPts val="15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79388" algn="l" rtl="0" eaLnBrk="0" fontAlgn="base" hangingPunct="0">
        <a:lnSpc>
          <a:spcPts val="15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rtl="0" eaLnBrk="0" fontAlgn="base" hangingPunct="0">
        <a:lnSpc>
          <a:spcPts val="15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91281" y="1295400"/>
            <a:ext cx="10333038" cy="1600200"/>
          </a:xfrm>
        </p:spPr>
        <p:txBody>
          <a:bodyPr anchor="ctr" anchorCtr="1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sz="49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Work View </a:t>
            </a:r>
            <a:r>
              <a:rPr lang="en-US" sz="49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utomation</a:t>
            </a:r>
            <a:endParaRPr lang="en-US" dirty="0"/>
          </a:p>
        </p:txBody>
      </p:sp>
      <p:sp>
        <p:nvSpPr>
          <p:cNvPr id="7" name="Date Placeholder 3"/>
          <p:cNvSpPr txBox="1">
            <a:spLocks/>
          </p:cNvSpPr>
          <p:nvPr/>
        </p:nvSpPr>
        <p:spPr>
          <a:xfrm>
            <a:off x="8054753" y="198164"/>
            <a:ext cx="1836166" cy="18000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D038A7-CC1D-4BC1-8BDC-0081ED08A5B3}" type="datetime3">
              <a:rPr lang="en-GB" smtClean="0"/>
              <a:pPr/>
              <a:t>14 December, 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223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13191" y="127686"/>
            <a:ext cx="7901328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b="1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Work View Automation Summary</a:t>
            </a:r>
            <a:endParaRPr lang="en-US" sz="18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57200" y="5364480"/>
            <a:ext cx="2286000" cy="118872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8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76%</a:t>
            </a:r>
            <a:r>
              <a:rPr lang="en-GB" sz="11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en-GB" sz="14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gression Automation</a:t>
            </a:r>
            <a:endParaRPr lang="en-GB" sz="14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880520" y="5364480"/>
            <a:ext cx="2286000" cy="118872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40</a:t>
            </a:r>
          </a:p>
          <a:p>
            <a:pPr algn="ctr"/>
            <a:r>
              <a:rPr lang="en-GB" sz="14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Builds Validated</a:t>
            </a:r>
            <a:endParaRPr lang="en-GB" sz="14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303520" y="5364480"/>
            <a:ext cx="2286000" cy="118872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9280</a:t>
            </a:r>
            <a:endParaRPr lang="en-GB" b="1" kern="0" dirty="0" smtClean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GB" sz="14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ours Efforts Saved</a:t>
            </a:r>
            <a:endParaRPr lang="en-GB" sz="14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726680" y="5364480"/>
            <a:ext cx="2286000" cy="118872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65</a:t>
            </a:r>
            <a:r>
              <a:rPr lang="en-GB" sz="11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en-GB" sz="14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fects Identified</a:t>
            </a:r>
            <a:endParaRPr lang="en-GB" sz="14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7200" y="609600"/>
            <a:ext cx="4709320" cy="464820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303360" y="609600"/>
            <a:ext cx="4709320" cy="464820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812403" y="716966"/>
            <a:ext cx="3998913" cy="307760"/>
          </a:xfrm>
          <a:prstGeom prst="rect">
            <a:avLst/>
          </a:prstGeom>
          <a:solidFill>
            <a:srgbClr val="7030A0"/>
          </a:solidFill>
        </p:spPr>
        <p:txBody>
          <a:bodyPr wrap="square" lIns="91424" tIns="45712" rIns="91424" bIns="45712">
            <a:spAutoFit/>
          </a:bodyPr>
          <a:lstStyle/>
          <a:p>
            <a:pPr algn="ctr">
              <a:defRPr/>
            </a:pPr>
            <a:r>
              <a:rPr lang="en-US" sz="1400" b="1" kern="0" dirty="0" smtClean="0">
                <a:solidFill>
                  <a:schemeClr val="bg1"/>
                </a:solidFill>
                <a:latin typeface="Candara" pitchFamily="34" charset="0"/>
                <a:ea typeface="ＭＳ Ｐゴシック" pitchFamily="34" charset="-128"/>
                <a:cs typeface="Calibri" pitchFamily="34" charset="0"/>
              </a:rPr>
              <a:t>Work View Automation – A Look Back</a:t>
            </a:r>
            <a:endParaRPr lang="en-US" sz="1400" b="1" kern="0" dirty="0">
              <a:solidFill>
                <a:schemeClr val="bg1"/>
              </a:solidFill>
              <a:latin typeface="Candara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5658563" y="742366"/>
            <a:ext cx="3998913" cy="307760"/>
          </a:xfrm>
          <a:prstGeom prst="rect">
            <a:avLst/>
          </a:prstGeom>
          <a:solidFill>
            <a:srgbClr val="7030A0"/>
          </a:solidFill>
        </p:spPr>
        <p:txBody>
          <a:bodyPr wrap="square" lIns="91424" tIns="45712" rIns="91424" bIns="45712">
            <a:spAutoFit/>
          </a:bodyPr>
          <a:lstStyle/>
          <a:p>
            <a:pPr algn="ctr">
              <a:defRPr/>
            </a:pPr>
            <a:r>
              <a:rPr lang="en-US" sz="1400" b="1" kern="0" dirty="0" smtClean="0">
                <a:solidFill>
                  <a:schemeClr val="bg1"/>
                </a:solidFill>
                <a:latin typeface="Candara" pitchFamily="34" charset="0"/>
                <a:ea typeface="ＭＳ Ｐゴシック" pitchFamily="34" charset="-128"/>
                <a:cs typeface="Calibri" pitchFamily="34" charset="0"/>
              </a:rPr>
              <a:t>Work View Automation – Future Releases</a:t>
            </a:r>
            <a:endParaRPr lang="en-US" sz="1400" b="1" kern="0" dirty="0">
              <a:solidFill>
                <a:schemeClr val="bg1"/>
              </a:solidFill>
              <a:latin typeface="Candara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94519" y="1143000"/>
            <a:ext cx="4419600" cy="402844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 anchorCtr="0"/>
          <a:lstStyle/>
          <a:p>
            <a:pPr>
              <a:tabLst>
                <a:tab pos="177800" algn="l"/>
              </a:tabLst>
            </a:pPr>
            <a:r>
              <a:rPr lang="en-US" sz="1200" b="1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unctional </a:t>
            </a:r>
            <a:r>
              <a:rPr lang="en-US" sz="1200" b="1" kern="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utomation: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rop1 EMEA and LATAM execution has been completed in 4 weeks (from the planned execution of 7 weeks)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35 PD efforts saved via Day1 Functional Automation execution 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0 PD efforts saved via 50% Data Migration Automation execution</a:t>
            </a:r>
          </a:p>
          <a:p>
            <a:r>
              <a:rPr lang="en-US" sz="1200" b="1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gression Automation:</a:t>
            </a:r>
            <a:endParaRPr lang="en-US" sz="1200" b="1" kern="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uild Validation and Certification in 14 Hours for all the 3 regions [APAC : 5 Hours, EMEA : 5 Hours, LATAM : 4 Hours]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0% of regression defects (~365) have been identified through Automation Suite.</a:t>
            </a:r>
            <a:endParaRPr lang="en-US" sz="1200" b="1" dirty="0" smtClean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est Data Creation has been automated for 14 interfaces out of 22 interfaces in Work View (until Drop 3) with ~ 8 hours savings per build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n-US" sz="1100" dirty="0" smtClean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10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100" b="1" kern="0" dirty="0" smtClean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448219" y="1143000"/>
            <a:ext cx="4419600" cy="402844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 anchorCtr="0"/>
          <a:lstStyle/>
          <a:p>
            <a:r>
              <a:rPr lang="en-US" sz="1100" b="1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ecution plan for Upcoming releases:</a:t>
            </a:r>
          </a:p>
          <a:p>
            <a:endParaRPr lang="en-US" sz="500" b="1" kern="0" dirty="0" smtClean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kern="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gression </a:t>
            </a:r>
            <a:r>
              <a:rPr lang="en-US" sz="12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esting is planned for 3 Days execution </a:t>
            </a:r>
            <a:r>
              <a:rPr lang="en-US" sz="1200" kern="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er country using 2 </a:t>
            </a:r>
            <a:r>
              <a:rPr lang="en-US" sz="12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chines for the build without any functional / Code changes.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n-US" sz="500" kern="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GB" sz="12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gression Testing will be performed </a:t>
            </a:r>
            <a:r>
              <a:rPr lang="en-GB" sz="1200" kern="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sing existing Automation / Manual Suite after updating the suite for Country Specific Config Data / Code Object Level </a:t>
            </a:r>
            <a:r>
              <a:rPr lang="en-GB" sz="12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hanges.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n-GB" sz="500" kern="0" dirty="0" smtClean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GB" sz="12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or any new functionality/CR/Interfaces, will analyse and provide the effort for test suite updation/SIT execution window.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n-GB" sz="500" kern="0" dirty="0" smtClean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en-GB" sz="1100" b="1" kern="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ote: </a:t>
            </a:r>
            <a:r>
              <a:rPr lang="en-US" sz="1100" b="1" kern="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 above plan is completely depend on Day 1 </a:t>
            </a:r>
            <a:r>
              <a:rPr lang="en-US" sz="1100" b="1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uild Quality </a:t>
            </a:r>
            <a:r>
              <a:rPr lang="en-US" sz="1100" b="1" kern="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/ Completeness of Component Delivery. 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n-GB" sz="1200" kern="0" dirty="0" smtClean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endParaRPr lang="en-US" sz="1200" kern="0" dirty="0" smtClean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n-US" sz="1200" b="1" kern="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endParaRPr lang="en-US" sz="1200" kern="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8650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1743552"/>
              </p:ext>
            </p:extLst>
          </p:nvPr>
        </p:nvGraphicFramePr>
        <p:xfrm>
          <a:off x="442119" y="609600"/>
          <a:ext cx="6248400" cy="6096004"/>
        </p:xfrm>
        <a:graphic>
          <a:graphicData uri="http://schemas.openxmlformats.org/drawingml/2006/table">
            <a:tbl>
              <a:tblPr firstRow="1" bandRow="1"/>
              <a:tblGrid>
                <a:gridCol w="5212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178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23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869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505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 err="1" smtClean="0">
                          <a:solidFill>
                            <a:srgbClr val="FFFFFF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.No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Interface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Test Data Automation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arks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Geniu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Meridian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 smtClean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I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 smtClean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CC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Underwriting Portal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CR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ystem 6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MN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 smtClean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GenNex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 smtClean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E-AB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dirty="0" smtClean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GPI (Standalone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GenNext 2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PEGA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Ignit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CHUBB Complianc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Unable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to script the identification of correspondent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D&amp;B – Credit Rating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Genius Lif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Blocked – Not Ready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for Automation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ystem6 Lif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Blocked – Not Ready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for Automation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CHUBBNE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Not Delivered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defTabSz="914400" rtl="0" eaLnBrk="1" fontAlgn="ctr" latinLnBrk="0" hangingPunct="1"/>
                      <a:r>
                        <a:rPr lang="en-US" sz="10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FormsPath</a:t>
                      </a:r>
                      <a:endParaRPr lang="en-US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Cannot be Automated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2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0"/>
                      <a:r>
                        <a:rPr lang="en-US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CRS Documents</a:t>
                      </a:r>
                      <a:endParaRPr lang="en-US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262316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2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9144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0" algn="l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CL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525"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Cannot be Automated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R="9525" marT="18288" marB="1828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193" y="976729"/>
            <a:ext cx="166255" cy="1662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194" y="1254845"/>
            <a:ext cx="166255" cy="16625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195" y="1513219"/>
            <a:ext cx="166255" cy="16625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196" y="1775251"/>
            <a:ext cx="166255" cy="16625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197" y="2033219"/>
            <a:ext cx="166255" cy="16625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7038" y="2287667"/>
            <a:ext cx="166255" cy="16625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879" y="2547927"/>
            <a:ext cx="166255" cy="16625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880" y="2815785"/>
            <a:ext cx="166255" cy="16625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484" y="3078895"/>
            <a:ext cx="166255" cy="16625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484" y="3342015"/>
            <a:ext cx="166255" cy="16625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485" y="3607229"/>
            <a:ext cx="166255" cy="16625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2921" y="3861511"/>
            <a:ext cx="166255" cy="16625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286" y="4120497"/>
            <a:ext cx="166255" cy="16625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1256" y="4383167"/>
            <a:ext cx="166255" cy="16625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2919" y="4654841"/>
            <a:ext cx="164592" cy="16459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2919" y="4924852"/>
            <a:ext cx="164592" cy="16459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2919" y="5190644"/>
            <a:ext cx="164592" cy="16459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2919" y="5445994"/>
            <a:ext cx="164592" cy="16459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8221" y="5984006"/>
            <a:ext cx="164592" cy="164592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2919" y="5715000"/>
            <a:ext cx="164592" cy="164592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2919" y="6491558"/>
            <a:ext cx="164592" cy="164592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2919" y="6236208"/>
            <a:ext cx="164592" cy="164592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6766719" y="609600"/>
            <a:ext cx="2895600" cy="609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 anchorCtr="0"/>
          <a:lstStyle/>
          <a:p>
            <a:r>
              <a:rPr lang="en-US" sz="1100" b="1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ighlights:</a:t>
            </a:r>
          </a:p>
          <a:p>
            <a:endParaRPr lang="en-US" sz="500" b="1" kern="0" dirty="0" smtClean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11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est Data Creation for 14 Interfaces out of 22 is Automated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11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2E Flow Validations automated for 6 Interfaces and is in progress for 4 interfaces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endParaRPr lang="en-US" sz="1100" b="1" kern="0" dirty="0" smtClean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100" b="1" kern="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883559" y="1952033"/>
            <a:ext cx="2702560" cy="236494"/>
          </a:xfrm>
          <a:prstGeom prst="rect">
            <a:avLst/>
          </a:prstGeom>
          <a:solidFill>
            <a:srgbClr val="01879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2E Flow Automated</a:t>
            </a:r>
            <a:endParaRPr lang="en-US" sz="11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883559" y="2209800"/>
            <a:ext cx="2057400" cy="1372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eni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eridi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W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enNex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kern="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6883559" y="3505200"/>
            <a:ext cx="2702560" cy="236494"/>
          </a:xfrm>
          <a:prstGeom prst="rect">
            <a:avLst/>
          </a:prstGeom>
          <a:solidFill>
            <a:srgbClr val="01879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2E Flow Automation in Progress</a:t>
            </a:r>
            <a:endParaRPr lang="en-US" sz="11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6883559" y="3775511"/>
            <a:ext cx="2057400" cy="10836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-AB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EG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enNext 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gni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kern="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itle 1"/>
          <p:cNvSpPr txBox="1">
            <a:spLocks/>
          </p:cNvSpPr>
          <p:nvPr/>
        </p:nvSpPr>
        <p:spPr>
          <a:xfrm>
            <a:off x="442119" y="89049"/>
            <a:ext cx="8206128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b="1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Interfaces Automation Overview</a:t>
            </a:r>
            <a:endParaRPr lang="en-US" sz="18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3602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13191" y="127686"/>
            <a:ext cx="7901328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b="1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Innovation &amp; Process Improvements</a:t>
            </a:r>
            <a:endParaRPr lang="en-US" sz="18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404519" y="685800"/>
            <a:ext cx="1828800" cy="4572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ools</a:t>
            </a:r>
            <a:endParaRPr lang="en-US" sz="11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404519" y="3733800"/>
            <a:ext cx="1828800" cy="4572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elerators</a:t>
            </a:r>
            <a:endParaRPr lang="en-US" sz="11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14400" y="1295400"/>
            <a:ext cx="3657600" cy="2209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0080" rtlCol="0" anchor="t" anchorCtr="0"/>
          <a:lstStyle/>
          <a:p>
            <a:r>
              <a:rPr lang="en-US" sz="1100" b="1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n Excel Utility to trigger the Automated Test Data Creation Scripts for all interfaces from one place</a:t>
            </a:r>
            <a:r>
              <a:rPr lang="en-US" sz="1100" b="1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endParaRPr lang="en-US" sz="1100" dirty="0" smtClean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10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t </a:t>
            </a:r>
            <a:r>
              <a:rPr lang="en-US" sz="11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ases the complexity of entering Test Data for Automation Scripts for Interfaces which are using different Automation tools and technologies</a:t>
            </a:r>
            <a:r>
              <a:rPr lang="en-US" sz="110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endParaRPr lang="en-US" sz="1100" dirty="0" smtClean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10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egrated </a:t>
            </a:r>
            <a:r>
              <a:rPr lang="en-US" sz="11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2E flows for most of the Interfaces can be run with just a button click</a:t>
            </a:r>
          </a:p>
          <a:p>
            <a:endParaRPr lang="en-US" sz="1100" b="1" kern="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928519" y="1295400"/>
            <a:ext cx="3657600" cy="2209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0080" rtlCol="0" anchor="t" anchorCtr="0"/>
          <a:lstStyle/>
          <a:p>
            <a:pPr lvl="0" defTabSz="914400">
              <a:defRPr/>
            </a:pPr>
            <a:r>
              <a:rPr lang="en-US" sz="1100" b="1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utomated utility using SMTP protocol to ingest continuous mails / documents into WorkView for performance Testing</a:t>
            </a:r>
          </a:p>
          <a:p>
            <a:endParaRPr lang="en-US" sz="110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0" defTabSz="914400">
              <a:defRPr/>
            </a:pPr>
            <a:r>
              <a:rPr lang="en-US" sz="11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elpful to simulate ingestion background process with high throughput during PTE</a:t>
            </a:r>
          </a:p>
          <a:p>
            <a:pPr lvl="0" defTabSz="914400">
              <a:defRPr/>
            </a:pPr>
            <a:endParaRPr lang="en-US" sz="110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0" defTabSz="914400">
              <a:defRPr/>
            </a:pPr>
            <a:r>
              <a:rPr lang="en-US" sz="11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t gives a throughput of ~3000 mails per hour and ~15,000 documents per hour</a:t>
            </a:r>
          </a:p>
          <a:p>
            <a:endParaRPr lang="en-US" sz="11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914400" y="4291914"/>
            <a:ext cx="3657600" cy="2209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0080" rtlCol="0" anchor="t" anchorCtr="0"/>
          <a:lstStyle/>
          <a:p>
            <a:r>
              <a:rPr lang="en-US" sz="1100" b="1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utomatic Execution of Automated Test Scripts after each Build Deployment</a:t>
            </a:r>
          </a:p>
          <a:p>
            <a:endParaRPr lang="en-US" sz="1100" b="1" kern="0" dirty="0" smtClean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1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utomated Build Validation and reporting to Stakeholders right when the Build deployment is complete</a:t>
            </a:r>
          </a:p>
          <a:p>
            <a:endParaRPr lang="en-US" sz="1100" kern="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1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vOps Integration is completed for and Sanity Testing and is in progress for Regression Testing</a:t>
            </a:r>
            <a:endParaRPr lang="en-US" sz="1100" kern="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100" b="1" kern="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946095" y="4291914"/>
            <a:ext cx="3657600" cy="2209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0080" rtlCol="0" anchor="t" anchorCtr="0"/>
          <a:lstStyle/>
          <a:p>
            <a:r>
              <a:rPr lang="en-US" sz="1100" b="1" kern="0" dirty="0" err="1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deInsight</a:t>
            </a:r>
            <a:r>
              <a:rPr lang="en-US" sz="1100" b="1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is a bot that reduces the Regression Testing efforts based on the derivations from changes in the new build</a:t>
            </a:r>
          </a:p>
          <a:p>
            <a:endParaRPr lang="en-US" sz="1100" b="1" kern="0" dirty="0" smtClean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1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oof of Concept for </a:t>
            </a:r>
            <a:r>
              <a:rPr lang="en-US" sz="1100" kern="0" dirty="0" err="1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deInsight</a:t>
            </a:r>
            <a:r>
              <a:rPr lang="en-US" sz="1100" kern="0" dirty="0" smtClean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is in progress for Security Module of WorkView</a:t>
            </a:r>
            <a:endParaRPr lang="en-US" sz="1100" kern="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89819" y="1383614"/>
            <a:ext cx="3276600" cy="4572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erface Test Bed</a:t>
            </a:r>
            <a:endParaRPr lang="en-US" sz="11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233319" y="4419600"/>
            <a:ext cx="3276600" cy="4572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kern="0" dirty="0" err="1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deInsight</a:t>
            </a:r>
            <a:endParaRPr lang="en-US" sz="11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126445" y="4419600"/>
            <a:ext cx="3276600" cy="4572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vOps Integration</a:t>
            </a:r>
            <a:endParaRPr lang="en-US" sz="11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136595" y="1383614"/>
            <a:ext cx="3276600" cy="4572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kern="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mail Ingestion Utility</a:t>
            </a:r>
            <a:endParaRPr lang="en-US" sz="11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927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490119" y="3373438"/>
            <a:ext cx="4365174" cy="1655762"/>
          </a:xfrm>
        </p:spPr>
        <p:txBody>
          <a:bodyPr>
            <a:normAutofit/>
          </a:bodyPr>
          <a:lstStyle/>
          <a:p>
            <a:r>
              <a:rPr lang="en-US" sz="4800" b="1" dirty="0">
                <a:latin typeface="Century Gothic" panose="020B0502020202020204" pitchFamily="34" charset="0"/>
              </a:rPr>
              <a:t>Thank You !</a:t>
            </a:r>
          </a:p>
        </p:txBody>
      </p:sp>
    </p:spTree>
    <p:extLst>
      <p:ext uri="{BB962C8B-B14F-4D97-AF65-F5344CB8AC3E}">
        <p14:creationId xmlns:p14="http://schemas.microsoft.com/office/powerpoint/2010/main" val="1140928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NFO" val="CHU100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heme/theme1.xml><?xml version="1.0" encoding="utf-8"?>
<a:theme xmlns:a="http://schemas.openxmlformats.org/drawingml/2006/main" name="Chubb interim widescreen (v1.02)">
  <a:themeElements>
    <a:clrScheme name="Chubb">
      <a:dk1>
        <a:sysClr val="windowText" lastClr="000000"/>
      </a:dk1>
      <a:lt1>
        <a:sysClr val="window" lastClr="FFFFFF"/>
      </a:lt1>
      <a:dk2>
        <a:srgbClr val="4B4E53"/>
      </a:dk2>
      <a:lt2>
        <a:srgbClr val="AFAFAF"/>
      </a:lt2>
      <a:accent1>
        <a:srgbClr val="01C1D6"/>
      </a:accent1>
      <a:accent2>
        <a:srgbClr val="FF6600"/>
      </a:accent2>
      <a:accent3>
        <a:srgbClr val="6E27C5"/>
      </a:accent3>
      <a:accent4>
        <a:srgbClr val="FFB617"/>
      </a:accent4>
      <a:accent5>
        <a:srgbClr val="FF0198"/>
      </a:accent5>
      <a:accent6>
        <a:srgbClr val="150F96"/>
      </a:accent6>
      <a:hlink>
        <a:srgbClr val="150F96"/>
      </a:hlink>
      <a:folHlink>
        <a:srgbClr val="FF0198"/>
      </a:folHlink>
    </a:clrScheme>
    <a:fontScheme name="Chubb Georgia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>
            <a:lumMod val="75000"/>
          </a:schemeClr>
        </a:solidFill>
        <a:ln>
          <a:noFill/>
        </a:ln>
      </a:spPr>
      <a:bodyPr rtlCol="0" anchor="ctr"/>
      <a:lstStyle>
        <a:defPPr algn="ctr">
          <a:defRPr sz="1100" b="1" kern="0" dirty="0">
            <a:solidFill>
              <a:schemeClr val="bg1"/>
            </a:solidFill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GM QA Strategy_Draft_V1.1.pptx" id="{7C88D5E9-3530-4CFE-9C14-140944C939A2}" vid="{4C7CFC04-1757-4AE7-8C2B-6C4B52DD46B4}"/>
    </a:ext>
  </a:extLst>
</a:theme>
</file>

<file path=ppt/theme/theme2.xml><?xml version="1.0" encoding="utf-8"?>
<a:theme xmlns:a="http://schemas.openxmlformats.org/drawingml/2006/main" name="Chubb interim (v1.02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hubb Georgia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50000"/>
          </a:schemeClr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hubb interim (v1.02).potx" id="{EC62FA99-1CC2-4E22-9398-9A86D33CF217}" vid="{2BC7F51C-E5B4-4225-BE6B-E46B90AAC129}"/>
    </a:ext>
  </a:extLst>
</a:theme>
</file>

<file path=ppt/theme/theme3.xml><?xml version="1.0" encoding="utf-8"?>
<a:theme xmlns:a="http://schemas.openxmlformats.org/drawingml/2006/main" name="Office Theme">
  <a:themeElements>
    <a:clrScheme name="Chubb">
      <a:dk1>
        <a:sysClr val="windowText" lastClr="000000"/>
      </a:dk1>
      <a:lt1>
        <a:sysClr val="window" lastClr="FFFFFF"/>
      </a:lt1>
      <a:dk2>
        <a:srgbClr val="4B4E53"/>
      </a:dk2>
      <a:lt2>
        <a:srgbClr val="AFAFAF"/>
      </a:lt2>
      <a:accent1>
        <a:srgbClr val="01C1D6"/>
      </a:accent1>
      <a:accent2>
        <a:srgbClr val="FF6600"/>
      </a:accent2>
      <a:accent3>
        <a:srgbClr val="6E27C5"/>
      </a:accent3>
      <a:accent4>
        <a:srgbClr val="FFB617"/>
      </a:accent4>
      <a:accent5>
        <a:srgbClr val="FF0198"/>
      </a:accent5>
      <a:accent6>
        <a:srgbClr val="150F96"/>
      </a:accent6>
      <a:hlink>
        <a:srgbClr val="150F96"/>
      </a:hlink>
      <a:folHlink>
        <a:srgbClr val="FF0198"/>
      </a:folHlink>
    </a:clrScheme>
    <a:fontScheme name="Chubb (Georgia)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hubb">
      <a:dk1>
        <a:sysClr val="windowText" lastClr="000000"/>
      </a:dk1>
      <a:lt1>
        <a:sysClr val="window" lastClr="FFFFFF"/>
      </a:lt1>
      <a:dk2>
        <a:srgbClr val="4B4E53"/>
      </a:dk2>
      <a:lt2>
        <a:srgbClr val="AFAFAF"/>
      </a:lt2>
      <a:accent1>
        <a:srgbClr val="01C1D6"/>
      </a:accent1>
      <a:accent2>
        <a:srgbClr val="FF6600"/>
      </a:accent2>
      <a:accent3>
        <a:srgbClr val="6E27C5"/>
      </a:accent3>
      <a:accent4>
        <a:srgbClr val="FFB617"/>
      </a:accent4>
      <a:accent5>
        <a:srgbClr val="FF0198"/>
      </a:accent5>
      <a:accent6>
        <a:srgbClr val="150F96"/>
      </a:accent6>
      <a:hlink>
        <a:srgbClr val="150F96"/>
      </a:hlink>
      <a:folHlink>
        <a:srgbClr val="FF0198"/>
      </a:folHlink>
    </a:clrScheme>
    <a:fontScheme name="Chubb (Georgia)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6BF8874D1F4242830FA65A6B34A102" ma:contentTypeVersion="0" ma:contentTypeDescription="Create a new document." ma:contentTypeScope="" ma:versionID="86d9695a4d40585a5a2700498e68384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0729232-C412-43C8-914C-39B0773F967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D084596-E264-4DFC-BC33-70D05C376896}">
  <ds:schemaRefs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36B2595-F01C-4E5F-852B-663219BD1A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E View AGM QA Test Approach_Draft_V1.0.pptx</Template>
  <TotalTime>58130</TotalTime>
  <Words>573</Words>
  <Application>Microsoft Office PowerPoint</Application>
  <PresentationFormat>Custom</PresentationFormat>
  <Paragraphs>130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8" baseType="lpstr">
      <vt:lpstr>ＭＳ Ｐゴシック</vt:lpstr>
      <vt:lpstr>Arial</vt:lpstr>
      <vt:lpstr>Calibri</vt:lpstr>
      <vt:lpstr>Candara</vt:lpstr>
      <vt:lpstr>Century Gothic</vt:lpstr>
      <vt:lpstr>Georgia</vt:lpstr>
      <vt:lpstr>Helvetica Light</vt:lpstr>
      <vt:lpstr>Segoe UI</vt:lpstr>
      <vt:lpstr>Symbol</vt:lpstr>
      <vt:lpstr>Wingdings</vt:lpstr>
      <vt:lpstr>Chubb interim widescreen (v1.02)</vt:lpstr>
      <vt:lpstr>Chubb interim (v1.02)</vt:lpstr>
      <vt:lpstr>think-cell Slide</vt:lpstr>
      <vt:lpstr>Work View Automation</vt:lpstr>
      <vt:lpstr>PowerPoint Presentation</vt:lpstr>
      <vt:lpstr>PowerPoint Presentation</vt:lpstr>
      <vt:lpstr>PowerPoint Presentation</vt:lpstr>
      <vt:lpstr>PowerPoint Presentation</vt:lpstr>
    </vt:vector>
  </TitlesOfParts>
  <Company>Cognizant Technology Solu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E View AGM - High Level Plan &amp; Test Approach</dc:title>
  <dc:creator>Ramasamy, Venkatesh (Cognizant)</dc:creator>
  <cp:lastModifiedBy>J B, Visakh (Cognizant)</cp:lastModifiedBy>
  <cp:revision>6535</cp:revision>
  <dcterms:created xsi:type="dcterms:W3CDTF">2016-01-30T13:05:32Z</dcterms:created>
  <dcterms:modified xsi:type="dcterms:W3CDTF">2018-12-14T10:49:5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6BF8874D1F4242830FA65A6B34A102</vt:lpwstr>
  </property>
</Properties>
</file>